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5" r:id="rId4"/>
    <p:sldMasterId id="2147484304" r:id="rId5"/>
  </p:sldMasterIdLst>
  <p:notesMasterIdLst>
    <p:notesMasterId r:id="rId16"/>
  </p:notesMasterIdLst>
  <p:sldIdLst>
    <p:sldId id="2147482939" r:id="rId6"/>
    <p:sldId id="2147473877" r:id="rId7"/>
    <p:sldId id="2147482942" r:id="rId8"/>
    <p:sldId id="2147482944" r:id="rId9"/>
    <p:sldId id="2147482947" r:id="rId10"/>
    <p:sldId id="2147482950" r:id="rId11"/>
    <p:sldId id="2147482951" r:id="rId12"/>
    <p:sldId id="2147482952" r:id="rId13"/>
    <p:sldId id="2147482954" r:id="rId14"/>
    <p:sldId id="2147482955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72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84" y="2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athan Lewin" userId="08c07055-bc24-4500-a45c-fc09dd877250" providerId="ADAL" clId="{7B40716D-1F30-4253-BF42-FCF63DDDA319}"/>
    <pc:docChg chg="undo custSel addSld delSld modSld sldOrd">
      <pc:chgData name="Jonathan Lewin" userId="08c07055-bc24-4500-a45c-fc09dd877250" providerId="ADAL" clId="{7B40716D-1F30-4253-BF42-FCF63DDDA319}" dt="2025-10-20T16:26:40.594" v="1831" actId="47"/>
      <pc:docMkLst>
        <pc:docMk/>
      </pc:docMkLst>
      <pc:sldChg chg="addSp delSp modSp add del mod">
        <pc:chgData name="Jonathan Lewin" userId="08c07055-bc24-4500-a45c-fc09dd877250" providerId="ADAL" clId="{7B40716D-1F30-4253-BF42-FCF63DDDA319}" dt="2025-10-20T15:07:45.757" v="19" actId="20577"/>
        <pc:sldMkLst>
          <pc:docMk/>
          <pc:sldMk cId="2066121233" sldId="2147473877"/>
        </pc:sldMkLst>
        <pc:spChg chg="mod">
          <ac:chgData name="Jonathan Lewin" userId="08c07055-bc24-4500-a45c-fc09dd877250" providerId="ADAL" clId="{7B40716D-1F30-4253-BF42-FCF63DDDA319}" dt="2025-10-20T15:07:45.757" v="19" actId="20577"/>
          <ac:spMkLst>
            <pc:docMk/>
            <pc:sldMk cId="2066121233" sldId="2147473877"/>
            <ac:spMk id="2" creationId="{EEE22499-B9AD-A360-076E-AD673BDB4964}"/>
          </ac:spMkLst>
        </pc:spChg>
        <pc:picChg chg="add mod">
          <ac:chgData name="Jonathan Lewin" userId="08c07055-bc24-4500-a45c-fc09dd877250" providerId="ADAL" clId="{7B40716D-1F30-4253-BF42-FCF63DDDA319}" dt="2025-10-20T15:07:39.362" v="6" actId="1076"/>
          <ac:picMkLst>
            <pc:docMk/>
            <pc:sldMk cId="2066121233" sldId="2147473877"/>
            <ac:picMk id="4" creationId="{7593CF7D-433A-817B-A98E-8144F7E891C3}"/>
          </ac:picMkLst>
        </pc:picChg>
      </pc:sldChg>
      <pc:sldChg chg="modSp mod">
        <pc:chgData name="Jonathan Lewin" userId="08c07055-bc24-4500-a45c-fc09dd877250" providerId="ADAL" clId="{7B40716D-1F30-4253-BF42-FCF63DDDA319}" dt="2025-10-20T15:13:13.977" v="268" actId="14100"/>
        <pc:sldMkLst>
          <pc:docMk/>
          <pc:sldMk cId="2216195095" sldId="2147482939"/>
        </pc:sldMkLst>
        <pc:spChg chg="mod">
          <ac:chgData name="Jonathan Lewin" userId="08c07055-bc24-4500-a45c-fc09dd877250" providerId="ADAL" clId="{7B40716D-1F30-4253-BF42-FCF63DDDA319}" dt="2025-10-20T15:13:13.977" v="268" actId="14100"/>
          <ac:spMkLst>
            <pc:docMk/>
            <pc:sldMk cId="2216195095" sldId="2147482939"/>
            <ac:spMk id="2" creationId="{CA7C1E90-3E54-CC07-C06A-4C26AC8DD5BA}"/>
          </ac:spMkLst>
        </pc:spChg>
        <pc:spChg chg="mod">
          <ac:chgData name="Jonathan Lewin" userId="08c07055-bc24-4500-a45c-fc09dd877250" providerId="ADAL" clId="{7B40716D-1F30-4253-BF42-FCF63DDDA319}" dt="2025-10-20T15:08:43.312" v="71" actId="20577"/>
          <ac:spMkLst>
            <pc:docMk/>
            <pc:sldMk cId="2216195095" sldId="2147482939"/>
            <ac:spMk id="3" creationId="{74DE0C0A-7F48-C6B4-7881-A39C4534EA04}"/>
          </ac:spMkLst>
        </pc:spChg>
      </pc:sldChg>
      <pc:sldChg chg="modSp mod">
        <pc:chgData name="Jonathan Lewin" userId="08c07055-bc24-4500-a45c-fc09dd877250" providerId="ADAL" clId="{7B40716D-1F30-4253-BF42-FCF63DDDA319}" dt="2025-10-20T15:20:21.116" v="670" actId="20577"/>
        <pc:sldMkLst>
          <pc:docMk/>
          <pc:sldMk cId="2683882079" sldId="2147482942"/>
        </pc:sldMkLst>
        <pc:spChg chg="mod">
          <ac:chgData name="Jonathan Lewin" userId="08c07055-bc24-4500-a45c-fc09dd877250" providerId="ADAL" clId="{7B40716D-1F30-4253-BF42-FCF63DDDA319}" dt="2025-10-20T15:09:16.075" v="79" actId="20577"/>
          <ac:spMkLst>
            <pc:docMk/>
            <pc:sldMk cId="2683882079" sldId="2147482942"/>
            <ac:spMk id="2" creationId="{A524899D-8919-A347-14C7-8D8CCEC64F41}"/>
          </ac:spMkLst>
        </pc:spChg>
        <pc:graphicFrameChg chg="mod modGraphic">
          <ac:chgData name="Jonathan Lewin" userId="08c07055-bc24-4500-a45c-fc09dd877250" providerId="ADAL" clId="{7B40716D-1F30-4253-BF42-FCF63DDDA319}" dt="2025-10-20T15:20:21.116" v="670" actId="20577"/>
          <ac:graphicFrameMkLst>
            <pc:docMk/>
            <pc:sldMk cId="2683882079" sldId="2147482942"/>
            <ac:graphicFrameMk id="12" creationId="{126398E7-8550-A462-8860-98D4693DF2E4}"/>
          </ac:graphicFrameMkLst>
        </pc:graphicFrameChg>
      </pc:sldChg>
      <pc:sldChg chg="addSp delSp modSp mod">
        <pc:chgData name="Jonathan Lewin" userId="08c07055-bc24-4500-a45c-fc09dd877250" providerId="ADAL" clId="{7B40716D-1F30-4253-BF42-FCF63DDDA319}" dt="2025-10-20T16:07:36.824" v="1419" actId="207"/>
        <pc:sldMkLst>
          <pc:docMk/>
          <pc:sldMk cId="2411235865" sldId="2147482944"/>
        </pc:sldMkLst>
        <pc:spChg chg="mod">
          <ac:chgData name="Jonathan Lewin" userId="08c07055-bc24-4500-a45c-fc09dd877250" providerId="ADAL" clId="{7B40716D-1F30-4253-BF42-FCF63DDDA319}" dt="2025-10-20T15:20:37.882" v="692" actId="20577"/>
          <ac:spMkLst>
            <pc:docMk/>
            <pc:sldMk cId="2411235865" sldId="2147482944"/>
            <ac:spMk id="2" creationId="{D8ACF973-08A7-F7A7-1DAE-EA466E9D0A50}"/>
          </ac:spMkLst>
        </pc:spChg>
        <pc:spChg chg="add mod">
          <ac:chgData name="Jonathan Lewin" userId="08c07055-bc24-4500-a45c-fc09dd877250" providerId="ADAL" clId="{7B40716D-1F30-4253-BF42-FCF63DDDA319}" dt="2025-10-20T15:24:50.465" v="711" actId="1076"/>
          <ac:spMkLst>
            <pc:docMk/>
            <pc:sldMk cId="2411235865" sldId="2147482944"/>
            <ac:spMk id="6" creationId="{F5A3A737-03F3-0E06-C376-3EA241716735}"/>
          </ac:spMkLst>
        </pc:spChg>
        <pc:spChg chg="add mod">
          <ac:chgData name="Jonathan Lewin" userId="08c07055-bc24-4500-a45c-fc09dd877250" providerId="ADAL" clId="{7B40716D-1F30-4253-BF42-FCF63DDDA319}" dt="2025-10-20T15:25:08.811" v="714" actId="1076"/>
          <ac:spMkLst>
            <pc:docMk/>
            <pc:sldMk cId="2411235865" sldId="2147482944"/>
            <ac:spMk id="7" creationId="{7FAE88B0-A0EB-590D-A3B8-618A05ACF9B8}"/>
          </ac:spMkLst>
        </pc:spChg>
        <pc:spChg chg="add mod">
          <ac:chgData name="Jonathan Lewin" userId="08c07055-bc24-4500-a45c-fc09dd877250" providerId="ADAL" clId="{7B40716D-1F30-4253-BF42-FCF63DDDA319}" dt="2025-10-20T15:29:13.684" v="843" actId="1076"/>
          <ac:spMkLst>
            <pc:docMk/>
            <pc:sldMk cId="2411235865" sldId="2147482944"/>
            <ac:spMk id="8" creationId="{6F66AF2C-8022-45C4-DDCA-BDB1898DF12B}"/>
          </ac:spMkLst>
        </pc:spChg>
        <pc:spChg chg="add mod">
          <ac:chgData name="Jonathan Lewin" userId="08c07055-bc24-4500-a45c-fc09dd877250" providerId="ADAL" clId="{7B40716D-1F30-4253-BF42-FCF63DDDA319}" dt="2025-10-20T15:28:17.387" v="784" actId="14100"/>
          <ac:spMkLst>
            <pc:docMk/>
            <pc:sldMk cId="2411235865" sldId="2147482944"/>
            <ac:spMk id="11" creationId="{CF52C6B7-DEFD-1FE1-7D53-BDC27DA101CF}"/>
          </ac:spMkLst>
        </pc:spChg>
        <pc:spChg chg="add mod">
          <ac:chgData name="Jonathan Lewin" userId="08c07055-bc24-4500-a45c-fc09dd877250" providerId="ADAL" clId="{7B40716D-1F30-4253-BF42-FCF63DDDA319}" dt="2025-10-20T16:07:33.659" v="1418" actId="207"/>
          <ac:spMkLst>
            <pc:docMk/>
            <pc:sldMk cId="2411235865" sldId="2147482944"/>
            <ac:spMk id="12" creationId="{14DD6F66-ECC9-8083-69B2-FC4696DDA0D4}"/>
          </ac:spMkLst>
        </pc:spChg>
        <pc:spChg chg="add mod">
          <ac:chgData name="Jonathan Lewin" userId="08c07055-bc24-4500-a45c-fc09dd877250" providerId="ADAL" clId="{7B40716D-1F30-4253-BF42-FCF63DDDA319}" dt="2025-10-20T16:07:36.824" v="1419" actId="207"/>
          <ac:spMkLst>
            <pc:docMk/>
            <pc:sldMk cId="2411235865" sldId="2147482944"/>
            <ac:spMk id="13" creationId="{B3375E87-69ED-2733-A791-97936A872795}"/>
          </ac:spMkLst>
        </pc:spChg>
        <pc:picChg chg="add mod ord">
          <ac:chgData name="Jonathan Lewin" userId="08c07055-bc24-4500-a45c-fc09dd877250" providerId="ADAL" clId="{7B40716D-1F30-4253-BF42-FCF63DDDA319}" dt="2025-10-20T15:28:17.919" v="785" actId="1076"/>
          <ac:picMkLst>
            <pc:docMk/>
            <pc:sldMk cId="2411235865" sldId="2147482944"/>
            <ac:picMk id="10" creationId="{01D3074A-29F6-51C2-EFBA-4CB0ADAA5C02}"/>
          </ac:picMkLst>
        </pc:picChg>
      </pc:sldChg>
      <pc:sldChg chg="addSp delSp modSp mod">
        <pc:chgData name="Jonathan Lewin" userId="08c07055-bc24-4500-a45c-fc09dd877250" providerId="ADAL" clId="{7B40716D-1F30-4253-BF42-FCF63DDDA319}" dt="2025-10-20T15:37:40.135" v="1033" actId="14100"/>
        <pc:sldMkLst>
          <pc:docMk/>
          <pc:sldMk cId="2620505058" sldId="2147482947"/>
        </pc:sldMkLst>
        <pc:spChg chg="mod">
          <ac:chgData name="Jonathan Lewin" userId="08c07055-bc24-4500-a45c-fc09dd877250" providerId="ADAL" clId="{7B40716D-1F30-4253-BF42-FCF63DDDA319}" dt="2025-10-20T15:30:03.252" v="875" actId="20577"/>
          <ac:spMkLst>
            <pc:docMk/>
            <pc:sldMk cId="2620505058" sldId="2147482947"/>
            <ac:spMk id="2" creationId="{B7DCB39F-2E38-630E-54AE-0E1ACCAA94CA}"/>
          </ac:spMkLst>
        </pc:spChg>
        <pc:spChg chg="add mod">
          <ac:chgData name="Jonathan Lewin" userId="08c07055-bc24-4500-a45c-fc09dd877250" providerId="ADAL" clId="{7B40716D-1F30-4253-BF42-FCF63DDDA319}" dt="2025-10-20T15:31:49.857" v="885" actId="1076"/>
          <ac:spMkLst>
            <pc:docMk/>
            <pc:sldMk cId="2620505058" sldId="2147482947"/>
            <ac:spMk id="9" creationId="{DA80884D-E4AB-78F5-3532-4AF8FF942435}"/>
          </ac:spMkLst>
        </pc:spChg>
        <pc:spChg chg="add mod">
          <ac:chgData name="Jonathan Lewin" userId="08c07055-bc24-4500-a45c-fc09dd877250" providerId="ADAL" clId="{7B40716D-1F30-4253-BF42-FCF63DDDA319}" dt="2025-10-20T15:32:12.425" v="899" actId="20577"/>
          <ac:spMkLst>
            <pc:docMk/>
            <pc:sldMk cId="2620505058" sldId="2147482947"/>
            <ac:spMk id="10" creationId="{32A6C83B-A9A0-A9F0-037B-ACCC4095D0CB}"/>
          </ac:spMkLst>
        </pc:spChg>
        <pc:spChg chg="add mod">
          <ac:chgData name="Jonathan Lewin" userId="08c07055-bc24-4500-a45c-fc09dd877250" providerId="ADAL" clId="{7B40716D-1F30-4253-BF42-FCF63DDDA319}" dt="2025-10-20T15:32:33.801" v="903" actId="1076"/>
          <ac:spMkLst>
            <pc:docMk/>
            <pc:sldMk cId="2620505058" sldId="2147482947"/>
            <ac:spMk id="11" creationId="{DC6766CA-5500-280F-6394-6ABC049BB97D}"/>
          </ac:spMkLst>
        </pc:spChg>
        <pc:spChg chg="add mod">
          <ac:chgData name="Jonathan Lewin" userId="08c07055-bc24-4500-a45c-fc09dd877250" providerId="ADAL" clId="{7B40716D-1F30-4253-BF42-FCF63DDDA319}" dt="2025-10-20T15:33:20.667" v="942" actId="1076"/>
          <ac:spMkLst>
            <pc:docMk/>
            <pc:sldMk cId="2620505058" sldId="2147482947"/>
            <ac:spMk id="12" creationId="{35EC43A1-7014-2459-8844-7D28A48DCE19}"/>
          </ac:spMkLst>
        </pc:spChg>
        <pc:spChg chg="add mod">
          <ac:chgData name="Jonathan Lewin" userId="08c07055-bc24-4500-a45c-fc09dd877250" providerId="ADAL" clId="{7B40716D-1F30-4253-BF42-FCF63DDDA319}" dt="2025-10-20T15:36:24.805" v="1018" actId="1076"/>
          <ac:spMkLst>
            <pc:docMk/>
            <pc:sldMk cId="2620505058" sldId="2147482947"/>
            <ac:spMk id="13" creationId="{CD2ACEF9-8678-2509-7E3D-D75595F416ED}"/>
          </ac:spMkLst>
        </pc:spChg>
        <pc:spChg chg="add mod">
          <ac:chgData name="Jonathan Lewin" userId="08c07055-bc24-4500-a45c-fc09dd877250" providerId="ADAL" clId="{7B40716D-1F30-4253-BF42-FCF63DDDA319}" dt="2025-10-20T15:36:54.678" v="1023" actId="1076"/>
          <ac:spMkLst>
            <pc:docMk/>
            <pc:sldMk cId="2620505058" sldId="2147482947"/>
            <ac:spMk id="14" creationId="{1783B4EB-0B1E-3558-6A25-1E2876194822}"/>
          </ac:spMkLst>
        </pc:spChg>
        <pc:spChg chg="add mod">
          <ac:chgData name="Jonathan Lewin" userId="08c07055-bc24-4500-a45c-fc09dd877250" providerId="ADAL" clId="{7B40716D-1F30-4253-BF42-FCF63DDDA319}" dt="2025-10-20T15:37:40.135" v="1033" actId="14100"/>
          <ac:spMkLst>
            <pc:docMk/>
            <pc:sldMk cId="2620505058" sldId="2147482947"/>
            <ac:spMk id="15" creationId="{43B58D1E-B030-05F2-63E0-7E1C3DBCD16C}"/>
          </ac:spMkLst>
        </pc:spChg>
        <pc:picChg chg="add mod">
          <ac:chgData name="Jonathan Lewin" userId="08c07055-bc24-4500-a45c-fc09dd877250" providerId="ADAL" clId="{7B40716D-1F30-4253-BF42-FCF63DDDA319}" dt="2025-10-20T15:33:17.180" v="941" actId="1076"/>
          <ac:picMkLst>
            <pc:docMk/>
            <pc:sldMk cId="2620505058" sldId="2147482947"/>
            <ac:picMk id="8" creationId="{06229C82-BC06-6FCF-066A-5C13DD5D759A}"/>
          </ac:picMkLst>
        </pc:picChg>
      </pc:sldChg>
      <pc:sldChg chg="addSp delSp modSp add mod">
        <pc:chgData name="Jonathan Lewin" userId="08c07055-bc24-4500-a45c-fc09dd877250" providerId="ADAL" clId="{7B40716D-1F30-4253-BF42-FCF63DDDA319}" dt="2025-10-20T16:09:15.888" v="1456" actId="20577"/>
        <pc:sldMkLst>
          <pc:docMk/>
          <pc:sldMk cId="3100885707" sldId="2147482950"/>
        </pc:sldMkLst>
        <pc:spChg chg="add mod">
          <ac:chgData name="Jonathan Lewin" userId="08c07055-bc24-4500-a45c-fc09dd877250" providerId="ADAL" clId="{7B40716D-1F30-4253-BF42-FCF63DDDA319}" dt="2025-10-20T16:06:00.071" v="1310" actId="14100"/>
          <ac:spMkLst>
            <pc:docMk/>
            <pc:sldMk cId="3100885707" sldId="2147482950"/>
            <ac:spMk id="5" creationId="{BBA954E8-98F8-691F-8B0D-8F8615BFE5BC}"/>
          </ac:spMkLst>
        </pc:spChg>
        <pc:spChg chg="add mod">
          <ac:chgData name="Jonathan Lewin" userId="08c07055-bc24-4500-a45c-fc09dd877250" providerId="ADAL" clId="{7B40716D-1F30-4253-BF42-FCF63DDDA319}" dt="2025-10-20T16:06:40.255" v="1377" actId="20577"/>
          <ac:spMkLst>
            <pc:docMk/>
            <pc:sldMk cId="3100885707" sldId="2147482950"/>
            <ac:spMk id="6" creationId="{BA1EEE25-47C4-4E84-E53B-078C4940EEA6}"/>
          </ac:spMkLst>
        </pc:spChg>
        <pc:spChg chg="mod">
          <ac:chgData name="Jonathan Lewin" userId="08c07055-bc24-4500-a45c-fc09dd877250" providerId="ADAL" clId="{7B40716D-1F30-4253-BF42-FCF63DDDA319}" dt="2025-10-20T16:04:22.997" v="1120" actId="1076"/>
          <ac:spMkLst>
            <pc:docMk/>
            <pc:sldMk cId="3100885707" sldId="2147482950"/>
            <ac:spMk id="9" creationId="{955F9C5A-2E00-3E72-F5EF-1324519FDC50}"/>
          </ac:spMkLst>
        </pc:spChg>
        <pc:spChg chg="mod">
          <ac:chgData name="Jonathan Lewin" userId="08c07055-bc24-4500-a45c-fc09dd877250" providerId="ADAL" clId="{7B40716D-1F30-4253-BF42-FCF63DDDA319}" dt="2025-10-20T16:03:23.574" v="1046" actId="1076"/>
          <ac:spMkLst>
            <pc:docMk/>
            <pc:sldMk cId="3100885707" sldId="2147482950"/>
            <ac:spMk id="11" creationId="{17D1A240-4814-E0C7-3720-A91441346611}"/>
          </ac:spMkLst>
        </pc:spChg>
        <pc:spChg chg="mod">
          <ac:chgData name="Jonathan Lewin" userId="08c07055-bc24-4500-a45c-fc09dd877250" providerId="ADAL" clId="{7B40716D-1F30-4253-BF42-FCF63DDDA319}" dt="2025-10-20T16:05:08.030" v="1190" actId="1076"/>
          <ac:spMkLst>
            <pc:docMk/>
            <pc:sldMk cId="3100885707" sldId="2147482950"/>
            <ac:spMk id="12" creationId="{CCA116B0-E5BA-7DFA-B5DE-0DD15220DEA0}"/>
          </ac:spMkLst>
        </pc:spChg>
        <pc:spChg chg="mod">
          <ac:chgData name="Jonathan Lewin" userId="08c07055-bc24-4500-a45c-fc09dd877250" providerId="ADAL" clId="{7B40716D-1F30-4253-BF42-FCF63DDDA319}" dt="2025-10-20T16:09:15.888" v="1456" actId="20577"/>
          <ac:spMkLst>
            <pc:docMk/>
            <pc:sldMk cId="3100885707" sldId="2147482950"/>
            <ac:spMk id="13" creationId="{C23B0687-73A7-2DC6-5B90-7C37E7AD3598}"/>
          </ac:spMkLst>
        </pc:spChg>
        <pc:spChg chg="mod">
          <ac:chgData name="Jonathan Lewin" userId="08c07055-bc24-4500-a45c-fc09dd877250" providerId="ADAL" clId="{7B40716D-1F30-4253-BF42-FCF63DDDA319}" dt="2025-10-20T16:06:52.485" v="1382" actId="1076"/>
          <ac:spMkLst>
            <pc:docMk/>
            <pc:sldMk cId="3100885707" sldId="2147482950"/>
            <ac:spMk id="14" creationId="{65896089-2E0D-5B48-3D4F-9139357FC9B7}"/>
          </ac:spMkLst>
        </pc:spChg>
        <pc:spChg chg="mod">
          <ac:chgData name="Jonathan Lewin" userId="08c07055-bc24-4500-a45c-fc09dd877250" providerId="ADAL" clId="{7B40716D-1F30-4253-BF42-FCF63DDDA319}" dt="2025-10-20T16:06:26.304" v="1321" actId="1076"/>
          <ac:spMkLst>
            <pc:docMk/>
            <pc:sldMk cId="3100885707" sldId="2147482950"/>
            <ac:spMk id="15" creationId="{36BE2B96-770F-25A3-AD9C-5D162A444FD3}"/>
          </ac:spMkLst>
        </pc:spChg>
        <pc:picChg chg="add mod ord">
          <ac:chgData name="Jonathan Lewin" userId="08c07055-bc24-4500-a45c-fc09dd877250" providerId="ADAL" clId="{7B40716D-1F30-4253-BF42-FCF63DDDA319}" dt="2025-10-20T16:06:47.342" v="1380" actId="1076"/>
          <ac:picMkLst>
            <pc:docMk/>
            <pc:sldMk cId="3100885707" sldId="2147482950"/>
            <ac:picMk id="4" creationId="{1DB434E9-B44B-29A0-C258-9037C7FABAB3}"/>
          </ac:picMkLst>
        </pc:picChg>
      </pc:sldChg>
      <pc:sldChg chg="addSp delSp modSp add mod">
        <pc:chgData name="Jonathan Lewin" userId="08c07055-bc24-4500-a45c-fc09dd877250" providerId="ADAL" clId="{7B40716D-1F30-4253-BF42-FCF63DDDA319}" dt="2025-10-20T16:10:40.514" v="1554" actId="478"/>
        <pc:sldMkLst>
          <pc:docMk/>
          <pc:sldMk cId="1963726435" sldId="2147482951"/>
        </pc:sldMkLst>
        <pc:spChg chg="mod">
          <ac:chgData name="Jonathan Lewin" userId="08c07055-bc24-4500-a45c-fc09dd877250" providerId="ADAL" clId="{7B40716D-1F30-4253-BF42-FCF63DDDA319}" dt="2025-10-20T16:08:21.035" v="1447" actId="20577"/>
          <ac:spMkLst>
            <pc:docMk/>
            <pc:sldMk cId="1963726435" sldId="2147482951"/>
            <ac:spMk id="2" creationId="{42B5399B-EC5C-A137-ED6C-B96454234E76}"/>
          </ac:spMkLst>
        </pc:spChg>
        <pc:spChg chg="mod">
          <ac:chgData name="Jonathan Lewin" userId="08c07055-bc24-4500-a45c-fc09dd877250" providerId="ADAL" clId="{7B40716D-1F30-4253-BF42-FCF63DDDA319}" dt="2025-10-20T16:09:54.348" v="1508" actId="1076"/>
          <ac:spMkLst>
            <pc:docMk/>
            <pc:sldMk cId="1963726435" sldId="2147482951"/>
            <ac:spMk id="5" creationId="{01805542-D38F-02A7-41D5-37934BA29BBE}"/>
          </ac:spMkLst>
        </pc:spChg>
        <pc:spChg chg="mod">
          <ac:chgData name="Jonathan Lewin" userId="08c07055-bc24-4500-a45c-fc09dd877250" providerId="ADAL" clId="{7B40716D-1F30-4253-BF42-FCF63DDDA319}" dt="2025-10-20T16:10:19.972" v="1548" actId="20577"/>
          <ac:spMkLst>
            <pc:docMk/>
            <pc:sldMk cId="1963726435" sldId="2147482951"/>
            <ac:spMk id="6" creationId="{C7BA54C3-F7F7-8C3B-1EF0-CA18F7FFD83A}"/>
          </ac:spMkLst>
        </pc:spChg>
        <pc:spChg chg="mod">
          <ac:chgData name="Jonathan Lewin" userId="08c07055-bc24-4500-a45c-fc09dd877250" providerId="ADAL" clId="{7B40716D-1F30-4253-BF42-FCF63DDDA319}" dt="2025-10-20T16:10:03.368" v="1512" actId="14100"/>
          <ac:spMkLst>
            <pc:docMk/>
            <pc:sldMk cId="1963726435" sldId="2147482951"/>
            <ac:spMk id="9" creationId="{E9F00BDC-BA43-8CD2-C774-A39A3992B990}"/>
          </ac:spMkLst>
        </pc:spChg>
        <pc:spChg chg="mod">
          <ac:chgData name="Jonathan Lewin" userId="08c07055-bc24-4500-a45c-fc09dd877250" providerId="ADAL" clId="{7B40716D-1F30-4253-BF42-FCF63DDDA319}" dt="2025-10-20T16:08:59.669" v="1452" actId="1076"/>
          <ac:spMkLst>
            <pc:docMk/>
            <pc:sldMk cId="1963726435" sldId="2147482951"/>
            <ac:spMk id="10" creationId="{586C5C3A-E00E-188A-6377-F17553285696}"/>
          </ac:spMkLst>
        </pc:spChg>
        <pc:spChg chg="mod">
          <ac:chgData name="Jonathan Lewin" userId="08c07055-bc24-4500-a45c-fc09dd877250" providerId="ADAL" clId="{7B40716D-1F30-4253-BF42-FCF63DDDA319}" dt="2025-10-20T16:09:10.405" v="1454" actId="1076"/>
          <ac:spMkLst>
            <pc:docMk/>
            <pc:sldMk cId="1963726435" sldId="2147482951"/>
            <ac:spMk id="11" creationId="{984D8B56-A67F-608A-E4A1-B9725BB3C16D}"/>
          </ac:spMkLst>
        </pc:spChg>
        <pc:spChg chg="mod">
          <ac:chgData name="Jonathan Lewin" userId="08c07055-bc24-4500-a45c-fc09dd877250" providerId="ADAL" clId="{7B40716D-1F30-4253-BF42-FCF63DDDA319}" dt="2025-10-20T16:10:36.837" v="1553" actId="14100"/>
          <ac:spMkLst>
            <pc:docMk/>
            <pc:sldMk cId="1963726435" sldId="2147482951"/>
            <ac:spMk id="14" creationId="{8EAC2E35-3252-9A6D-2CBC-AE3BBB82BC63}"/>
          </ac:spMkLst>
        </pc:spChg>
        <pc:spChg chg="mod">
          <ac:chgData name="Jonathan Lewin" userId="08c07055-bc24-4500-a45c-fc09dd877250" providerId="ADAL" clId="{7B40716D-1F30-4253-BF42-FCF63DDDA319}" dt="2025-10-20T16:10:26.670" v="1549" actId="1076"/>
          <ac:spMkLst>
            <pc:docMk/>
            <pc:sldMk cId="1963726435" sldId="2147482951"/>
            <ac:spMk id="15" creationId="{6F85EE12-A265-A784-7246-84625263C122}"/>
          </ac:spMkLst>
        </pc:spChg>
        <pc:picChg chg="add mod ord">
          <ac:chgData name="Jonathan Lewin" userId="08c07055-bc24-4500-a45c-fc09dd877250" providerId="ADAL" clId="{7B40716D-1F30-4253-BF42-FCF63DDDA319}" dt="2025-10-20T16:08:54.344" v="1451" actId="167"/>
          <ac:picMkLst>
            <pc:docMk/>
            <pc:sldMk cId="1963726435" sldId="2147482951"/>
            <ac:picMk id="7" creationId="{4A66F9C1-8C5F-D22B-30C7-1AB2F600B5BF}"/>
          </ac:picMkLst>
        </pc:picChg>
      </pc:sldChg>
      <pc:sldChg chg="addSp delSp modSp add mod ord">
        <pc:chgData name="Jonathan Lewin" userId="08c07055-bc24-4500-a45c-fc09dd877250" providerId="ADAL" clId="{7B40716D-1F30-4253-BF42-FCF63DDDA319}" dt="2025-10-20T16:16:30.677" v="1691" actId="1076"/>
        <pc:sldMkLst>
          <pc:docMk/>
          <pc:sldMk cId="3259706140" sldId="2147482952"/>
        </pc:sldMkLst>
        <pc:spChg chg="mod">
          <ac:chgData name="Jonathan Lewin" userId="08c07055-bc24-4500-a45c-fc09dd877250" providerId="ADAL" clId="{7B40716D-1F30-4253-BF42-FCF63DDDA319}" dt="2025-10-20T16:11:04.792" v="1558"/>
          <ac:spMkLst>
            <pc:docMk/>
            <pc:sldMk cId="3259706140" sldId="2147482952"/>
            <ac:spMk id="2" creationId="{113EA792-CEDA-9FB1-F51B-EB0E1FFD3502}"/>
          </ac:spMkLst>
        </pc:spChg>
        <pc:spChg chg="mod">
          <ac:chgData name="Jonathan Lewin" userId="08c07055-bc24-4500-a45c-fc09dd877250" providerId="ADAL" clId="{7B40716D-1F30-4253-BF42-FCF63DDDA319}" dt="2025-10-20T16:13:18.516" v="1652" actId="1076"/>
          <ac:spMkLst>
            <pc:docMk/>
            <pc:sldMk cId="3259706140" sldId="2147482952"/>
            <ac:spMk id="5" creationId="{171F308B-EDC2-646E-F410-02578AF65C9F}"/>
          </ac:spMkLst>
        </pc:spChg>
        <pc:spChg chg="mod">
          <ac:chgData name="Jonathan Lewin" userId="08c07055-bc24-4500-a45c-fc09dd877250" providerId="ADAL" clId="{7B40716D-1F30-4253-BF42-FCF63DDDA319}" dt="2025-10-20T16:14:52.256" v="1682" actId="1076"/>
          <ac:spMkLst>
            <pc:docMk/>
            <pc:sldMk cId="3259706140" sldId="2147482952"/>
            <ac:spMk id="6" creationId="{51674FBF-3865-D51C-464E-36F4B1BB4403}"/>
          </ac:spMkLst>
        </pc:spChg>
        <pc:spChg chg="mod">
          <ac:chgData name="Jonathan Lewin" userId="08c07055-bc24-4500-a45c-fc09dd877250" providerId="ADAL" clId="{7B40716D-1F30-4253-BF42-FCF63DDDA319}" dt="2025-10-20T16:12:54.591" v="1604" actId="1076"/>
          <ac:spMkLst>
            <pc:docMk/>
            <pc:sldMk cId="3259706140" sldId="2147482952"/>
            <ac:spMk id="9" creationId="{8268C05B-B7AE-3A56-FF55-8EEF5FE907F5}"/>
          </ac:spMkLst>
        </pc:spChg>
        <pc:spChg chg="mod">
          <ac:chgData name="Jonathan Lewin" userId="08c07055-bc24-4500-a45c-fc09dd877250" providerId="ADAL" clId="{7B40716D-1F30-4253-BF42-FCF63DDDA319}" dt="2025-10-20T16:12:15.654" v="1596" actId="14100"/>
          <ac:spMkLst>
            <pc:docMk/>
            <pc:sldMk cId="3259706140" sldId="2147482952"/>
            <ac:spMk id="11" creationId="{0787A183-4153-6F0D-0A5A-44117C8995A4}"/>
          </ac:spMkLst>
        </pc:spChg>
        <pc:spChg chg="mod">
          <ac:chgData name="Jonathan Lewin" userId="08c07055-bc24-4500-a45c-fc09dd877250" providerId="ADAL" clId="{7B40716D-1F30-4253-BF42-FCF63DDDA319}" dt="2025-10-20T16:16:30.677" v="1691" actId="1076"/>
          <ac:spMkLst>
            <pc:docMk/>
            <pc:sldMk cId="3259706140" sldId="2147482952"/>
            <ac:spMk id="12" creationId="{68A64307-61C9-C1B2-FA10-8FF492D24F7E}"/>
          </ac:spMkLst>
        </pc:spChg>
        <pc:spChg chg="mod">
          <ac:chgData name="Jonathan Lewin" userId="08c07055-bc24-4500-a45c-fc09dd877250" providerId="ADAL" clId="{7B40716D-1F30-4253-BF42-FCF63DDDA319}" dt="2025-10-20T16:15:04.241" v="1686" actId="14100"/>
          <ac:spMkLst>
            <pc:docMk/>
            <pc:sldMk cId="3259706140" sldId="2147482952"/>
            <ac:spMk id="15" creationId="{957BD9D5-BE18-3282-C1D0-22276398677D}"/>
          </ac:spMkLst>
        </pc:spChg>
        <pc:picChg chg="add ord">
          <ac:chgData name="Jonathan Lewin" userId="08c07055-bc24-4500-a45c-fc09dd877250" providerId="ADAL" clId="{7B40716D-1F30-4253-BF42-FCF63DDDA319}" dt="2025-10-20T16:11:28.223" v="1561" actId="167"/>
          <ac:picMkLst>
            <pc:docMk/>
            <pc:sldMk cId="3259706140" sldId="2147482952"/>
            <ac:picMk id="7" creationId="{5BE988CB-85C3-2F51-36B0-3CF21CE40F21}"/>
          </ac:picMkLst>
        </pc:picChg>
        <pc:picChg chg="add mod ord modCrop">
          <ac:chgData name="Jonathan Lewin" userId="08c07055-bc24-4500-a45c-fc09dd877250" providerId="ADAL" clId="{7B40716D-1F30-4253-BF42-FCF63DDDA319}" dt="2025-10-20T16:14:28.243" v="1658" actId="167"/>
          <ac:picMkLst>
            <pc:docMk/>
            <pc:sldMk cId="3259706140" sldId="2147482952"/>
            <ac:picMk id="10" creationId="{C4935066-A537-BA02-948D-0688B1A93A42}"/>
          </ac:picMkLst>
        </pc:picChg>
      </pc:sldChg>
      <pc:sldChg chg="addSp delSp modSp add mod ord">
        <pc:chgData name="Jonathan Lewin" userId="08c07055-bc24-4500-a45c-fc09dd877250" providerId="ADAL" clId="{7B40716D-1F30-4253-BF42-FCF63DDDA319}" dt="2025-10-20T16:18:17.683" v="1734" actId="14100"/>
        <pc:sldMkLst>
          <pc:docMk/>
          <pc:sldMk cId="2099977182" sldId="2147482954"/>
        </pc:sldMkLst>
        <pc:spChg chg="mod">
          <ac:chgData name="Jonathan Lewin" userId="08c07055-bc24-4500-a45c-fc09dd877250" providerId="ADAL" clId="{7B40716D-1F30-4253-BF42-FCF63DDDA319}" dt="2025-10-20T16:17:58.211" v="1729" actId="20577"/>
          <ac:spMkLst>
            <pc:docMk/>
            <pc:sldMk cId="2099977182" sldId="2147482954"/>
            <ac:spMk id="5" creationId="{75F49C6F-60E6-6D71-6F6E-9FB9C8ABE214}"/>
          </ac:spMkLst>
        </pc:spChg>
        <pc:spChg chg="mod">
          <ac:chgData name="Jonathan Lewin" userId="08c07055-bc24-4500-a45c-fc09dd877250" providerId="ADAL" clId="{7B40716D-1F30-4253-BF42-FCF63DDDA319}" dt="2025-10-20T16:18:04.162" v="1730" actId="1076"/>
          <ac:spMkLst>
            <pc:docMk/>
            <pc:sldMk cId="2099977182" sldId="2147482954"/>
            <ac:spMk id="6" creationId="{1707C1CB-27C8-36BA-02D3-77E3D79F57CA}"/>
          </ac:spMkLst>
        </pc:spChg>
        <pc:spChg chg="mod">
          <ac:chgData name="Jonathan Lewin" userId="08c07055-bc24-4500-a45c-fc09dd877250" providerId="ADAL" clId="{7B40716D-1F30-4253-BF42-FCF63DDDA319}" dt="2025-10-20T16:17:55.615" v="1727" actId="1076"/>
          <ac:spMkLst>
            <pc:docMk/>
            <pc:sldMk cId="2099977182" sldId="2147482954"/>
            <ac:spMk id="9" creationId="{CFDF70BE-ABDB-3467-1E15-2F529D8FC972}"/>
          </ac:spMkLst>
        </pc:spChg>
        <pc:spChg chg="mod">
          <ac:chgData name="Jonathan Lewin" userId="08c07055-bc24-4500-a45c-fc09dd877250" providerId="ADAL" clId="{7B40716D-1F30-4253-BF42-FCF63DDDA319}" dt="2025-10-20T16:18:11.252" v="1732" actId="1076"/>
          <ac:spMkLst>
            <pc:docMk/>
            <pc:sldMk cId="2099977182" sldId="2147482954"/>
            <ac:spMk id="14" creationId="{D9C937E1-6051-56A8-75BC-A723A05E704D}"/>
          </ac:spMkLst>
        </pc:spChg>
        <pc:spChg chg="mod">
          <ac:chgData name="Jonathan Lewin" userId="08c07055-bc24-4500-a45c-fc09dd877250" providerId="ADAL" clId="{7B40716D-1F30-4253-BF42-FCF63DDDA319}" dt="2025-10-20T16:18:17.683" v="1734" actId="14100"/>
          <ac:spMkLst>
            <pc:docMk/>
            <pc:sldMk cId="2099977182" sldId="2147482954"/>
            <ac:spMk id="15" creationId="{63937C46-9056-20E2-7E4D-6826EE05E631}"/>
          </ac:spMkLst>
        </pc:spChg>
        <pc:picChg chg="add mod ord">
          <ac:chgData name="Jonathan Lewin" userId="08c07055-bc24-4500-a45c-fc09dd877250" providerId="ADAL" clId="{7B40716D-1F30-4253-BF42-FCF63DDDA319}" dt="2025-10-20T16:17:45.877" v="1725" actId="1076"/>
          <ac:picMkLst>
            <pc:docMk/>
            <pc:sldMk cId="2099977182" sldId="2147482954"/>
            <ac:picMk id="4" creationId="{66E5075D-4D3D-848B-777F-DA716C5C43B1}"/>
          </ac:picMkLst>
        </pc:picChg>
      </pc:sldChg>
      <pc:sldChg chg="addSp delSp modSp add mod">
        <pc:chgData name="Jonathan Lewin" userId="08c07055-bc24-4500-a45c-fc09dd877250" providerId="ADAL" clId="{7B40716D-1F30-4253-BF42-FCF63DDDA319}" dt="2025-10-20T16:26:38.195" v="1830" actId="478"/>
        <pc:sldMkLst>
          <pc:docMk/>
          <pc:sldMk cId="447685287" sldId="2147482955"/>
        </pc:sldMkLst>
        <pc:spChg chg="mod">
          <ac:chgData name="Jonathan Lewin" userId="08c07055-bc24-4500-a45c-fc09dd877250" providerId="ADAL" clId="{7B40716D-1F30-4253-BF42-FCF63DDDA319}" dt="2025-10-20T16:18:55.141" v="1773" actId="20577"/>
          <ac:spMkLst>
            <pc:docMk/>
            <pc:sldMk cId="447685287" sldId="2147482955"/>
            <ac:spMk id="2" creationId="{CEF7F9ED-25DB-A035-3AE6-A9F119812C39}"/>
          </ac:spMkLst>
        </pc:spChg>
        <pc:spChg chg="mod">
          <ac:chgData name="Jonathan Lewin" userId="08c07055-bc24-4500-a45c-fc09dd877250" providerId="ADAL" clId="{7B40716D-1F30-4253-BF42-FCF63DDDA319}" dt="2025-10-20T16:26:27.420" v="1827" actId="1076"/>
          <ac:spMkLst>
            <pc:docMk/>
            <pc:sldMk cId="447685287" sldId="2147482955"/>
            <ac:spMk id="5" creationId="{137CD67D-DC6A-0612-5604-8773407A9BB1}"/>
          </ac:spMkLst>
        </pc:spChg>
        <pc:spChg chg="mod">
          <ac:chgData name="Jonathan Lewin" userId="08c07055-bc24-4500-a45c-fc09dd877250" providerId="ADAL" clId="{7B40716D-1F30-4253-BF42-FCF63DDDA319}" dt="2025-10-20T16:26:13.077" v="1797" actId="1076"/>
          <ac:spMkLst>
            <pc:docMk/>
            <pc:sldMk cId="447685287" sldId="2147482955"/>
            <ac:spMk id="9" creationId="{D0F4B9F1-CABC-A5FB-6709-7213AE0995CF}"/>
          </ac:spMkLst>
        </pc:spChg>
        <pc:spChg chg="mod">
          <ac:chgData name="Jonathan Lewin" userId="08c07055-bc24-4500-a45c-fc09dd877250" providerId="ADAL" clId="{7B40716D-1F30-4253-BF42-FCF63DDDA319}" dt="2025-10-20T16:26:03.174" v="1795" actId="1076"/>
          <ac:spMkLst>
            <pc:docMk/>
            <pc:sldMk cId="447685287" sldId="2147482955"/>
            <ac:spMk id="10" creationId="{F839448C-5E75-13D0-96C7-A3EFE600FA03}"/>
          </ac:spMkLst>
        </pc:spChg>
        <pc:spChg chg="mod">
          <ac:chgData name="Jonathan Lewin" userId="08c07055-bc24-4500-a45c-fc09dd877250" providerId="ADAL" clId="{7B40716D-1F30-4253-BF42-FCF63DDDA319}" dt="2025-10-20T16:25:42.401" v="1793" actId="14100"/>
          <ac:spMkLst>
            <pc:docMk/>
            <pc:sldMk cId="447685287" sldId="2147482955"/>
            <ac:spMk id="11" creationId="{09F5E00D-0D11-527D-8730-0CB63CE96301}"/>
          </ac:spMkLst>
        </pc:spChg>
        <pc:picChg chg="add mod ord">
          <ac:chgData name="Jonathan Lewin" userId="08c07055-bc24-4500-a45c-fc09dd877250" providerId="ADAL" clId="{7B40716D-1F30-4253-BF42-FCF63DDDA319}" dt="2025-10-20T16:25:02.775" v="1777" actId="167"/>
          <ac:picMkLst>
            <pc:docMk/>
            <pc:sldMk cId="447685287" sldId="2147482955"/>
            <ac:picMk id="7" creationId="{42647579-B03A-B4C6-ADA0-B93D9BADF568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812DA0-72B4-45DD-BAC6-F0378A4C586B}" type="doc">
      <dgm:prSet loTypeId="urn:microsoft.com/office/officeart/2005/8/layout/lProcess3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262F4C3F-C676-4D71-AF74-7D55FAF065C9}">
      <dgm:prSet phldrT="[Text]" phldr="0" custT="1"/>
      <dgm:spPr/>
      <dgm:t>
        <a:bodyPr/>
        <a:lstStyle/>
        <a:p>
          <a:pPr rtl="0"/>
          <a:r>
            <a:rPr lang="en-US" sz="2000" b="1" dirty="0">
              <a:latin typeface="Aptos Display" panose="02110004020202020204"/>
            </a:rPr>
            <a:t>Pre-operative</a:t>
          </a:r>
          <a:endParaRPr lang="en-US" sz="2000" b="1" dirty="0"/>
        </a:p>
      </dgm:t>
    </dgm:pt>
    <dgm:pt modelId="{60A916F8-E0C2-462D-90E8-C1DEEE8F9593}" type="parTrans" cxnId="{1CBC2409-E340-44CE-B397-F81FDCB5E8D5}">
      <dgm:prSet/>
      <dgm:spPr/>
      <dgm:t>
        <a:bodyPr/>
        <a:lstStyle/>
        <a:p>
          <a:endParaRPr lang="en-US"/>
        </a:p>
      </dgm:t>
    </dgm:pt>
    <dgm:pt modelId="{D5D48086-0B32-4B5B-95ED-19452835FFEC}" type="sibTrans" cxnId="{1CBC2409-E340-44CE-B397-F81FDCB5E8D5}">
      <dgm:prSet/>
      <dgm:spPr/>
      <dgm:t>
        <a:bodyPr/>
        <a:lstStyle/>
        <a:p>
          <a:endParaRPr lang="en-US"/>
        </a:p>
      </dgm:t>
    </dgm:pt>
    <dgm:pt modelId="{606C57AC-8224-4F18-8E8F-D3888AFEAA4A}">
      <dgm:prSet phldrT="[Text]" phldr="0" custT="1"/>
      <dgm:spPr/>
      <dgm:t>
        <a:bodyPr/>
        <a:lstStyle/>
        <a:p>
          <a:pPr rtl="0"/>
          <a:r>
            <a:rPr lang="en-US" sz="1400" dirty="0">
              <a:latin typeface="Aptos Display" panose="02110004020202020204"/>
            </a:rPr>
            <a:t>See patient on ward</a:t>
          </a:r>
          <a:endParaRPr lang="en-US" sz="1400" dirty="0"/>
        </a:p>
      </dgm:t>
    </dgm:pt>
    <dgm:pt modelId="{B12C90F3-C971-4EBD-9318-7B21DBD71B2C}" type="parTrans" cxnId="{4F9E057C-AFF1-4EFD-8089-84708E1EC0F4}">
      <dgm:prSet/>
      <dgm:spPr/>
      <dgm:t>
        <a:bodyPr/>
        <a:lstStyle/>
        <a:p>
          <a:endParaRPr lang="en-US"/>
        </a:p>
      </dgm:t>
    </dgm:pt>
    <dgm:pt modelId="{30A2000D-DFAB-4C2E-9AE9-5DCBEDFE31C0}" type="sibTrans" cxnId="{4F9E057C-AFF1-4EFD-8089-84708E1EC0F4}">
      <dgm:prSet/>
      <dgm:spPr/>
      <dgm:t>
        <a:bodyPr/>
        <a:lstStyle/>
        <a:p>
          <a:endParaRPr lang="en-US"/>
        </a:p>
      </dgm:t>
    </dgm:pt>
    <dgm:pt modelId="{3C26D3EE-5265-40FA-BAF5-FC178B8474AE}">
      <dgm:prSet phldrT="[Text]" phldr="0" custT="1"/>
      <dgm:spPr/>
      <dgm:t>
        <a:bodyPr/>
        <a:lstStyle/>
        <a:p>
          <a:pPr rtl="0"/>
          <a:r>
            <a:rPr lang="en-US" sz="1400" dirty="0">
              <a:latin typeface="Aptos Display" panose="02110004020202020204"/>
            </a:rPr>
            <a:t>Check blood results on Expanse and paper consent form</a:t>
          </a:r>
          <a:endParaRPr lang="en-US" sz="1400" dirty="0"/>
        </a:p>
      </dgm:t>
    </dgm:pt>
    <dgm:pt modelId="{610076E1-FBA0-4FE2-B735-0ED04AD909E0}" type="parTrans" cxnId="{FB134763-0BD5-4281-BECD-C614CFB988A3}">
      <dgm:prSet/>
      <dgm:spPr/>
      <dgm:t>
        <a:bodyPr/>
        <a:lstStyle/>
        <a:p>
          <a:endParaRPr lang="en-US"/>
        </a:p>
      </dgm:t>
    </dgm:pt>
    <dgm:pt modelId="{E706D79E-E91B-4F0C-9862-52565BCE8552}" type="sibTrans" cxnId="{FB134763-0BD5-4281-BECD-C614CFB988A3}">
      <dgm:prSet/>
      <dgm:spPr/>
      <dgm:t>
        <a:bodyPr/>
        <a:lstStyle/>
        <a:p>
          <a:endParaRPr lang="en-US"/>
        </a:p>
      </dgm:t>
    </dgm:pt>
    <dgm:pt modelId="{F5E2AE61-6FAB-47DF-8453-E4B2C1C1D072}">
      <dgm:prSet phldrT="[Text]" phldr="0" custT="1"/>
      <dgm:spPr/>
      <dgm:t>
        <a:bodyPr/>
        <a:lstStyle/>
        <a:p>
          <a:pPr rtl="0"/>
          <a:r>
            <a:rPr lang="en-US" sz="2000" b="1" dirty="0">
              <a:latin typeface="Aptos Display" panose="02110004020202020204"/>
            </a:rPr>
            <a:t>Intra-operative</a:t>
          </a:r>
          <a:endParaRPr lang="en-US" sz="2000" b="1" dirty="0"/>
        </a:p>
      </dgm:t>
    </dgm:pt>
    <dgm:pt modelId="{45723811-843E-4FFD-8118-8DED007B2D95}" type="parTrans" cxnId="{7D7905EB-E893-4E50-AA45-66452B1BB5A9}">
      <dgm:prSet/>
      <dgm:spPr/>
      <dgm:t>
        <a:bodyPr/>
        <a:lstStyle/>
        <a:p>
          <a:endParaRPr lang="en-US"/>
        </a:p>
      </dgm:t>
    </dgm:pt>
    <dgm:pt modelId="{820A7B62-097E-4479-B1E7-387CBA092D1A}" type="sibTrans" cxnId="{7D7905EB-E893-4E50-AA45-66452B1BB5A9}">
      <dgm:prSet/>
      <dgm:spPr/>
      <dgm:t>
        <a:bodyPr/>
        <a:lstStyle/>
        <a:p>
          <a:endParaRPr lang="en-US"/>
        </a:p>
      </dgm:t>
    </dgm:pt>
    <dgm:pt modelId="{1E57D251-6F9C-4EAE-977B-75F262931417}">
      <dgm:prSet phldrT="[Text]" phldr="0" custT="1"/>
      <dgm:spPr/>
      <dgm:t>
        <a:bodyPr/>
        <a:lstStyle/>
        <a:p>
          <a:pPr rtl="0"/>
          <a:r>
            <a:rPr lang="en-US" sz="1400" dirty="0">
              <a:latin typeface="Aptos Display" panose="02110004020202020204"/>
            </a:rPr>
            <a:t>Pre-operative checklists (documented by theatre team)</a:t>
          </a:r>
          <a:endParaRPr lang="en-US" sz="1400" dirty="0">
            <a:latin typeface="Aptos Display" panose="02110004020202020204"/>
            <a:ea typeface="Calibri"/>
            <a:cs typeface="Calibri"/>
          </a:endParaRPr>
        </a:p>
      </dgm:t>
    </dgm:pt>
    <dgm:pt modelId="{0A698D00-F30C-4436-8AF5-B113A62860DD}" type="parTrans" cxnId="{DB595383-3502-40B1-99BA-5ABE1D4A0647}">
      <dgm:prSet/>
      <dgm:spPr/>
      <dgm:t>
        <a:bodyPr/>
        <a:lstStyle/>
        <a:p>
          <a:endParaRPr lang="en-US"/>
        </a:p>
      </dgm:t>
    </dgm:pt>
    <dgm:pt modelId="{C7728637-F998-46C2-9871-C5FAACB63795}" type="sibTrans" cxnId="{DB595383-3502-40B1-99BA-5ABE1D4A0647}">
      <dgm:prSet/>
      <dgm:spPr/>
      <dgm:t>
        <a:bodyPr/>
        <a:lstStyle/>
        <a:p>
          <a:endParaRPr lang="en-US"/>
        </a:p>
      </dgm:t>
    </dgm:pt>
    <dgm:pt modelId="{35EAAF4C-F665-43A2-B8FE-08F7B80E5B9B}">
      <dgm:prSet phldrT="[Text]" phldr="0" custT="1"/>
      <dgm:spPr/>
      <dgm:t>
        <a:bodyPr/>
        <a:lstStyle/>
        <a:p>
          <a:pPr rtl="0"/>
          <a:r>
            <a:rPr lang="en-US" sz="1400" dirty="0">
              <a:latin typeface="Calibri"/>
              <a:ea typeface="Calibri"/>
              <a:cs typeface="Calibri"/>
            </a:rPr>
            <a:t>Document caesarean section:</a:t>
          </a:r>
        </a:p>
        <a:p>
          <a:pPr rtl="0"/>
          <a:r>
            <a:rPr lang="en-US" sz="1400" dirty="0" err="1">
              <a:latin typeface="Calibri"/>
              <a:ea typeface="Calibri"/>
              <a:cs typeface="Calibri"/>
            </a:rPr>
            <a:t>Obs</a:t>
          </a:r>
          <a:r>
            <a:rPr lang="en-US" sz="1400" dirty="0">
              <a:latin typeface="Calibri"/>
              <a:ea typeface="Calibri"/>
              <a:cs typeface="Calibri"/>
            </a:rPr>
            <a:t> Caesarean Section</a:t>
          </a:r>
        </a:p>
      </dgm:t>
    </dgm:pt>
    <dgm:pt modelId="{4AF04811-6E40-436E-8F55-3944658A7DC0}" type="parTrans" cxnId="{BA99BD35-4D14-4D04-AAB5-CA2BC0C0197F}">
      <dgm:prSet/>
      <dgm:spPr/>
      <dgm:t>
        <a:bodyPr/>
        <a:lstStyle/>
        <a:p>
          <a:endParaRPr lang="en-US"/>
        </a:p>
      </dgm:t>
    </dgm:pt>
    <dgm:pt modelId="{333DB1D5-5DB3-4F4B-859A-C1388A1E3F26}" type="sibTrans" cxnId="{BA99BD35-4D14-4D04-AAB5-CA2BC0C0197F}">
      <dgm:prSet/>
      <dgm:spPr/>
      <dgm:t>
        <a:bodyPr/>
        <a:lstStyle/>
        <a:p>
          <a:endParaRPr lang="en-US"/>
        </a:p>
      </dgm:t>
    </dgm:pt>
    <dgm:pt modelId="{B76EF217-FE8E-40D6-974D-9001A9C0F3EA}">
      <dgm:prSet phldrT="[Text]" phldr="0" custT="1"/>
      <dgm:spPr/>
      <dgm:t>
        <a:bodyPr/>
        <a:lstStyle/>
        <a:p>
          <a:pPr rtl="0"/>
          <a:r>
            <a:rPr lang="en-US" sz="2000" b="1" dirty="0">
              <a:latin typeface="Aptos Display" panose="02110004020202020204"/>
            </a:rPr>
            <a:t>Post-operative</a:t>
          </a:r>
          <a:endParaRPr lang="en-US" sz="2000" b="1" dirty="0"/>
        </a:p>
      </dgm:t>
    </dgm:pt>
    <dgm:pt modelId="{6188E707-A74C-44E3-BBFA-E136F9DD55F9}" type="parTrans" cxnId="{66AB85F5-2E9B-43A8-A3FE-4CC05B39BF9F}">
      <dgm:prSet/>
      <dgm:spPr/>
      <dgm:t>
        <a:bodyPr/>
        <a:lstStyle/>
        <a:p>
          <a:endParaRPr lang="en-US"/>
        </a:p>
      </dgm:t>
    </dgm:pt>
    <dgm:pt modelId="{0FE8A500-EBE8-4EC6-96BD-86399B555388}" type="sibTrans" cxnId="{66AB85F5-2E9B-43A8-A3FE-4CC05B39BF9F}">
      <dgm:prSet/>
      <dgm:spPr/>
      <dgm:t>
        <a:bodyPr/>
        <a:lstStyle/>
        <a:p>
          <a:endParaRPr lang="en-US"/>
        </a:p>
      </dgm:t>
    </dgm:pt>
    <dgm:pt modelId="{7769F603-4535-4EEE-8047-7D492B162AF5}">
      <dgm:prSet phldrT="[Text]" phldr="0" custT="1"/>
      <dgm:spPr/>
      <dgm:t>
        <a:bodyPr/>
        <a:lstStyle/>
        <a:p>
          <a:pPr rtl="0"/>
          <a:r>
            <a:rPr lang="en-US" sz="1400" dirty="0">
              <a:latin typeface="Aptos Display" panose="02110004020202020204"/>
            </a:rPr>
            <a:t>Review patient on postnatal ward</a:t>
          </a:r>
          <a:endParaRPr lang="en-US" sz="1400" dirty="0"/>
        </a:p>
      </dgm:t>
    </dgm:pt>
    <dgm:pt modelId="{BB0D2DA1-79BF-4D3F-8F6A-885EC099B6D7}" type="parTrans" cxnId="{506F2019-8339-49CD-98C7-D3B45CACDC8A}">
      <dgm:prSet/>
      <dgm:spPr/>
      <dgm:t>
        <a:bodyPr/>
        <a:lstStyle/>
        <a:p>
          <a:endParaRPr lang="en-US"/>
        </a:p>
      </dgm:t>
    </dgm:pt>
    <dgm:pt modelId="{1B19206A-493D-432E-A80D-E3A65AB45F8C}" type="sibTrans" cxnId="{506F2019-8339-49CD-98C7-D3B45CACDC8A}">
      <dgm:prSet/>
      <dgm:spPr/>
      <dgm:t>
        <a:bodyPr/>
        <a:lstStyle/>
        <a:p>
          <a:endParaRPr lang="en-US"/>
        </a:p>
      </dgm:t>
    </dgm:pt>
    <dgm:pt modelId="{DC8A0126-F427-4C60-BDE8-A9C599F9858D}">
      <dgm:prSet phldrT="[Text]" phldr="0" custT="1"/>
      <dgm:spPr/>
      <dgm:t>
        <a:bodyPr/>
        <a:lstStyle/>
        <a:p>
          <a:pPr rtl="0"/>
          <a:r>
            <a:rPr lang="en-US" sz="1400" dirty="0">
              <a:latin typeface="Aptos Display" panose="02110004020202020204"/>
            </a:rPr>
            <a:t>Document post-natal review:</a:t>
          </a:r>
        </a:p>
        <a:p>
          <a:pPr rtl="0"/>
          <a:r>
            <a:rPr lang="en-US" sz="1400" dirty="0" err="1"/>
            <a:t>Obs</a:t>
          </a:r>
          <a:r>
            <a:rPr lang="en-US" sz="1400" dirty="0"/>
            <a:t> Postnatal Review</a:t>
          </a:r>
        </a:p>
      </dgm:t>
    </dgm:pt>
    <dgm:pt modelId="{F6AA623C-D858-4477-9699-B33504CCBD6A}" type="parTrans" cxnId="{159B6FFC-D52D-408E-AB4B-E94DF214CD6F}">
      <dgm:prSet/>
      <dgm:spPr/>
      <dgm:t>
        <a:bodyPr/>
        <a:lstStyle/>
        <a:p>
          <a:endParaRPr lang="en-US"/>
        </a:p>
      </dgm:t>
    </dgm:pt>
    <dgm:pt modelId="{DA7839E1-6A68-47F1-B5BE-FEF258A83034}" type="sibTrans" cxnId="{159B6FFC-D52D-408E-AB4B-E94DF214CD6F}">
      <dgm:prSet/>
      <dgm:spPr/>
      <dgm:t>
        <a:bodyPr/>
        <a:lstStyle/>
        <a:p>
          <a:endParaRPr lang="en-US"/>
        </a:p>
      </dgm:t>
    </dgm:pt>
    <dgm:pt modelId="{FED4718F-03AD-4FD9-8736-BC4F224A401E}">
      <dgm:prSet phldr="0" custT="1"/>
      <dgm:spPr/>
      <dgm:t>
        <a:bodyPr/>
        <a:lstStyle/>
        <a:p>
          <a:pPr rtl="0"/>
          <a:r>
            <a:rPr lang="en-US" sz="1400" b="0" dirty="0">
              <a:latin typeface="Aptos Display" panose="02110004020202020204"/>
            </a:rPr>
            <a:t>Document pre-operative review:</a:t>
          </a:r>
        </a:p>
        <a:p>
          <a:pPr rtl="0"/>
          <a:r>
            <a:rPr lang="en-US" sz="1400" b="0" dirty="0">
              <a:latin typeface="Aptos Display" panose="02110004020202020204"/>
            </a:rPr>
            <a:t>Obstetrics Inpatient Note</a:t>
          </a:r>
        </a:p>
      </dgm:t>
    </dgm:pt>
    <dgm:pt modelId="{D17C0C5A-FC45-445D-BDAD-01CF218F032E}" type="parTrans" cxnId="{BD5F2497-95E7-48F7-971E-4858E9BD5F8E}">
      <dgm:prSet/>
      <dgm:spPr/>
    </dgm:pt>
    <dgm:pt modelId="{D5ABBCB0-4F8F-4465-9916-01CE9FFB23C1}" type="sibTrans" cxnId="{BD5F2497-95E7-48F7-971E-4858E9BD5F8E}">
      <dgm:prSet/>
      <dgm:spPr/>
    </dgm:pt>
    <dgm:pt modelId="{0A9CD440-3C43-46DE-B855-B89A4857C1D9}">
      <dgm:prSet phldr="0" custT="1"/>
      <dgm:spPr/>
      <dgm:t>
        <a:bodyPr/>
        <a:lstStyle/>
        <a:p>
          <a:pPr rtl="0"/>
          <a:r>
            <a:rPr lang="en-US" sz="1400" dirty="0">
              <a:latin typeface="Aptos Display" panose="02110004020202020204"/>
            </a:rPr>
            <a:t>Order blood tests and medications</a:t>
          </a:r>
        </a:p>
      </dgm:t>
    </dgm:pt>
    <dgm:pt modelId="{CD883DCA-8FDE-47A7-9371-FEA1DC6C6B13}" type="parTrans" cxnId="{4624BBE6-B487-43F5-BF9B-70ED53B595A8}">
      <dgm:prSet/>
      <dgm:spPr/>
    </dgm:pt>
    <dgm:pt modelId="{A26B4316-CD63-4BD3-9179-9C01F627CC58}" type="sibTrans" cxnId="{4624BBE6-B487-43F5-BF9B-70ED53B595A8}">
      <dgm:prSet/>
      <dgm:spPr/>
    </dgm:pt>
    <dgm:pt modelId="{6ED97ECF-FB63-4E0E-A200-4AF74EB0EB2D}">
      <dgm:prSet phldr="0" custT="1"/>
      <dgm:spPr/>
      <dgm:t>
        <a:bodyPr/>
        <a:lstStyle/>
        <a:p>
          <a:r>
            <a:rPr lang="en-US" sz="1800" dirty="0"/>
            <a:t>Perform caesarean section</a:t>
          </a:r>
        </a:p>
      </dgm:t>
    </dgm:pt>
    <dgm:pt modelId="{10036FE6-2063-477E-AAD0-4632688785D9}" type="parTrans" cxnId="{0E4FCA77-C645-4140-8265-614DB376D790}">
      <dgm:prSet/>
      <dgm:spPr/>
    </dgm:pt>
    <dgm:pt modelId="{7E974E32-72C6-4F44-9BD2-64A55BA9D5F9}" type="sibTrans" cxnId="{0E4FCA77-C645-4140-8265-614DB376D790}">
      <dgm:prSet/>
      <dgm:spPr/>
    </dgm:pt>
    <dgm:pt modelId="{2F25C651-2E36-4EFB-A8EB-DECCAD9D346D}" type="pres">
      <dgm:prSet presAssocID="{16812DA0-72B4-45DD-BAC6-F0378A4C586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04321527-6214-4004-BB22-8705823E35CC}" type="pres">
      <dgm:prSet presAssocID="{262F4C3F-C676-4D71-AF74-7D55FAF065C9}" presName="horFlow" presStyleCnt="0"/>
      <dgm:spPr/>
    </dgm:pt>
    <dgm:pt modelId="{F68B1E19-D30E-49F7-B304-7CA821B1E4A5}" type="pres">
      <dgm:prSet presAssocID="{262F4C3F-C676-4D71-AF74-7D55FAF065C9}" presName="bigChev" presStyleLbl="node1" presStyleIdx="0" presStyleCnt="3"/>
      <dgm:spPr/>
    </dgm:pt>
    <dgm:pt modelId="{8806F46C-545B-40DA-B211-DF33E9934DDA}" type="pres">
      <dgm:prSet presAssocID="{B12C90F3-C971-4EBD-9318-7B21DBD71B2C}" presName="parTrans" presStyleCnt="0"/>
      <dgm:spPr/>
    </dgm:pt>
    <dgm:pt modelId="{4B91D713-B8A5-4C9A-BA98-93AF2F7503DF}" type="pres">
      <dgm:prSet presAssocID="{606C57AC-8224-4F18-8E8F-D3888AFEAA4A}" presName="node" presStyleLbl="alignAccFollowNode1" presStyleIdx="0" presStyleCnt="9">
        <dgm:presLayoutVars>
          <dgm:bulletEnabled val="1"/>
        </dgm:presLayoutVars>
      </dgm:prSet>
      <dgm:spPr/>
    </dgm:pt>
    <dgm:pt modelId="{2107000C-CD92-4A78-B70B-B684FFF685CF}" type="pres">
      <dgm:prSet presAssocID="{30A2000D-DFAB-4C2E-9AE9-5DCBEDFE31C0}" presName="sibTrans" presStyleCnt="0"/>
      <dgm:spPr/>
    </dgm:pt>
    <dgm:pt modelId="{605652EA-7243-4ED9-A871-BC342B6BCA3C}" type="pres">
      <dgm:prSet presAssocID="{3C26D3EE-5265-40FA-BAF5-FC178B8474AE}" presName="node" presStyleLbl="alignAccFollowNode1" presStyleIdx="1" presStyleCnt="9">
        <dgm:presLayoutVars>
          <dgm:bulletEnabled val="1"/>
        </dgm:presLayoutVars>
      </dgm:prSet>
      <dgm:spPr/>
    </dgm:pt>
    <dgm:pt modelId="{0A71428B-B68F-42F1-987E-9862F21B5084}" type="pres">
      <dgm:prSet presAssocID="{E706D79E-E91B-4F0C-9862-52565BCE8552}" presName="sibTrans" presStyleCnt="0"/>
      <dgm:spPr/>
    </dgm:pt>
    <dgm:pt modelId="{C0C81636-77EE-4791-A739-8A30A4B35C73}" type="pres">
      <dgm:prSet presAssocID="{FED4718F-03AD-4FD9-8736-BC4F224A401E}" presName="node" presStyleLbl="alignAccFollowNode1" presStyleIdx="2" presStyleCnt="9">
        <dgm:presLayoutVars>
          <dgm:bulletEnabled val="1"/>
        </dgm:presLayoutVars>
      </dgm:prSet>
      <dgm:spPr/>
    </dgm:pt>
    <dgm:pt modelId="{15E07602-801A-4C2B-954C-632D246DDCB3}" type="pres">
      <dgm:prSet presAssocID="{262F4C3F-C676-4D71-AF74-7D55FAF065C9}" presName="vSp" presStyleCnt="0"/>
      <dgm:spPr/>
    </dgm:pt>
    <dgm:pt modelId="{6CCB491E-8570-43D1-8CEF-7AAB339F4677}" type="pres">
      <dgm:prSet presAssocID="{F5E2AE61-6FAB-47DF-8453-E4B2C1C1D072}" presName="horFlow" presStyleCnt="0"/>
      <dgm:spPr/>
    </dgm:pt>
    <dgm:pt modelId="{B4B17F1A-FC36-4AD5-9FD5-12C99F94FF41}" type="pres">
      <dgm:prSet presAssocID="{F5E2AE61-6FAB-47DF-8453-E4B2C1C1D072}" presName="bigChev" presStyleLbl="node1" presStyleIdx="1" presStyleCnt="3"/>
      <dgm:spPr/>
    </dgm:pt>
    <dgm:pt modelId="{51FDE5EE-00E7-4DC6-9968-F6CE9B00A4A3}" type="pres">
      <dgm:prSet presAssocID="{0A698D00-F30C-4436-8AF5-B113A62860DD}" presName="parTrans" presStyleCnt="0"/>
      <dgm:spPr/>
    </dgm:pt>
    <dgm:pt modelId="{149B83BC-40AD-45DE-AC86-A28F3D38C072}" type="pres">
      <dgm:prSet presAssocID="{1E57D251-6F9C-4EAE-977B-75F262931417}" presName="node" presStyleLbl="alignAccFollowNode1" presStyleIdx="3" presStyleCnt="9">
        <dgm:presLayoutVars>
          <dgm:bulletEnabled val="1"/>
        </dgm:presLayoutVars>
      </dgm:prSet>
      <dgm:spPr/>
    </dgm:pt>
    <dgm:pt modelId="{02FE7019-D4D5-4D4A-97C0-FDAA7AFA70F3}" type="pres">
      <dgm:prSet presAssocID="{C7728637-F998-46C2-9871-C5FAACB63795}" presName="sibTrans" presStyleCnt="0"/>
      <dgm:spPr/>
    </dgm:pt>
    <dgm:pt modelId="{573C6A68-6F9F-4A1A-A8CE-02EA7B4289B5}" type="pres">
      <dgm:prSet presAssocID="{6ED97ECF-FB63-4E0E-A200-4AF74EB0EB2D}" presName="node" presStyleLbl="alignAccFollowNode1" presStyleIdx="4" presStyleCnt="9">
        <dgm:presLayoutVars>
          <dgm:bulletEnabled val="1"/>
        </dgm:presLayoutVars>
      </dgm:prSet>
      <dgm:spPr/>
    </dgm:pt>
    <dgm:pt modelId="{B035FA42-84B1-4B5D-89F8-2D6650B315E5}" type="pres">
      <dgm:prSet presAssocID="{7E974E32-72C6-4F44-9BD2-64A55BA9D5F9}" presName="sibTrans" presStyleCnt="0"/>
      <dgm:spPr/>
    </dgm:pt>
    <dgm:pt modelId="{66BB47F9-1201-4989-B686-D3054D2BE7F4}" type="pres">
      <dgm:prSet presAssocID="{35EAAF4C-F665-43A2-B8FE-08F7B80E5B9B}" presName="node" presStyleLbl="alignAccFollowNode1" presStyleIdx="5" presStyleCnt="9">
        <dgm:presLayoutVars>
          <dgm:bulletEnabled val="1"/>
        </dgm:presLayoutVars>
      </dgm:prSet>
      <dgm:spPr/>
    </dgm:pt>
    <dgm:pt modelId="{00B05A46-D4BC-4EE9-A1A7-C38A98E4F744}" type="pres">
      <dgm:prSet presAssocID="{F5E2AE61-6FAB-47DF-8453-E4B2C1C1D072}" presName="vSp" presStyleCnt="0"/>
      <dgm:spPr/>
    </dgm:pt>
    <dgm:pt modelId="{AF778EE3-398A-4619-9CF6-EECA538902A3}" type="pres">
      <dgm:prSet presAssocID="{B76EF217-FE8E-40D6-974D-9001A9C0F3EA}" presName="horFlow" presStyleCnt="0"/>
      <dgm:spPr/>
    </dgm:pt>
    <dgm:pt modelId="{D5B8DAA8-FBE1-41AA-8373-18B306DB57E3}" type="pres">
      <dgm:prSet presAssocID="{B76EF217-FE8E-40D6-974D-9001A9C0F3EA}" presName="bigChev" presStyleLbl="node1" presStyleIdx="2" presStyleCnt="3"/>
      <dgm:spPr/>
    </dgm:pt>
    <dgm:pt modelId="{7EA980B2-A579-4158-8F23-B06CCA18E97E}" type="pres">
      <dgm:prSet presAssocID="{BB0D2DA1-79BF-4D3F-8F6A-885EC099B6D7}" presName="parTrans" presStyleCnt="0"/>
      <dgm:spPr/>
    </dgm:pt>
    <dgm:pt modelId="{7F60655E-50C8-4C0D-BCFD-F4BA6E78E6E4}" type="pres">
      <dgm:prSet presAssocID="{7769F603-4535-4EEE-8047-7D492B162AF5}" presName="node" presStyleLbl="alignAccFollowNode1" presStyleIdx="6" presStyleCnt="9">
        <dgm:presLayoutVars>
          <dgm:bulletEnabled val="1"/>
        </dgm:presLayoutVars>
      </dgm:prSet>
      <dgm:spPr/>
    </dgm:pt>
    <dgm:pt modelId="{FCB5271B-932D-442F-951C-BA4753A98D68}" type="pres">
      <dgm:prSet presAssocID="{1B19206A-493D-432E-A80D-E3A65AB45F8C}" presName="sibTrans" presStyleCnt="0"/>
      <dgm:spPr/>
    </dgm:pt>
    <dgm:pt modelId="{CDDEF109-F0F0-4191-8ABE-01558A3DC708}" type="pres">
      <dgm:prSet presAssocID="{0A9CD440-3C43-46DE-B855-B89A4857C1D9}" presName="node" presStyleLbl="alignAccFollowNode1" presStyleIdx="7" presStyleCnt="9">
        <dgm:presLayoutVars>
          <dgm:bulletEnabled val="1"/>
        </dgm:presLayoutVars>
      </dgm:prSet>
      <dgm:spPr/>
    </dgm:pt>
    <dgm:pt modelId="{BED9D1FD-D3DB-44FC-B877-C6BDB98E6D76}" type="pres">
      <dgm:prSet presAssocID="{A26B4316-CD63-4BD3-9179-9C01F627CC58}" presName="sibTrans" presStyleCnt="0"/>
      <dgm:spPr/>
    </dgm:pt>
    <dgm:pt modelId="{7CCCD821-9136-42F2-9D46-DDE5AE32A7B4}" type="pres">
      <dgm:prSet presAssocID="{DC8A0126-F427-4C60-BDE8-A9C599F9858D}" presName="node" presStyleLbl="alignAccFollowNode1" presStyleIdx="8" presStyleCnt="9">
        <dgm:presLayoutVars>
          <dgm:bulletEnabled val="1"/>
        </dgm:presLayoutVars>
      </dgm:prSet>
      <dgm:spPr/>
    </dgm:pt>
  </dgm:ptLst>
  <dgm:cxnLst>
    <dgm:cxn modelId="{1CBC2409-E340-44CE-B397-F81FDCB5E8D5}" srcId="{16812DA0-72B4-45DD-BAC6-F0378A4C586B}" destId="{262F4C3F-C676-4D71-AF74-7D55FAF065C9}" srcOrd="0" destOrd="0" parTransId="{60A916F8-E0C2-462D-90E8-C1DEEE8F9593}" sibTransId="{D5D48086-0B32-4B5B-95ED-19452835FFEC}"/>
    <dgm:cxn modelId="{506F2019-8339-49CD-98C7-D3B45CACDC8A}" srcId="{B76EF217-FE8E-40D6-974D-9001A9C0F3EA}" destId="{7769F603-4535-4EEE-8047-7D492B162AF5}" srcOrd="0" destOrd="0" parTransId="{BB0D2DA1-79BF-4D3F-8F6A-885EC099B6D7}" sibTransId="{1B19206A-493D-432E-A80D-E3A65AB45F8C}"/>
    <dgm:cxn modelId="{6E8C1129-34F6-42C0-9399-388FB7C47840}" type="presOf" srcId="{262F4C3F-C676-4D71-AF74-7D55FAF065C9}" destId="{F68B1E19-D30E-49F7-B304-7CA821B1E4A5}" srcOrd="0" destOrd="0" presId="urn:microsoft.com/office/officeart/2005/8/layout/lProcess3"/>
    <dgm:cxn modelId="{E28B062D-40FB-4897-A5E1-C72CADAB7687}" type="presOf" srcId="{DC8A0126-F427-4C60-BDE8-A9C599F9858D}" destId="{7CCCD821-9136-42F2-9D46-DDE5AE32A7B4}" srcOrd="0" destOrd="0" presId="urn:microsoft.com/office/officeart/2005/8/layout/lProcess3"/>
    <dgm:cxn modelId="{BA99BD35-4D14-4D04-AAB5-CA2BC0C0197F}" srcId="{F5E2AE61-6FAB-47DF-8453-E4B2C1C1D072}" destId="{35EAAF4C-F665-43A2-B8FE-08F7B80E5B9B}" srcOrd="2" destOrd="0" parTransId="{4AF04811-6E40-436E-8F55-3944658A7DC0}" sibTransId="{333DB1D5-5DB3-4F4B-859A-C1388A1E3F26}"/>
    <dgm:cxn modelId="{AC5AF85B-F051-4B4C-BFEE-968F5DD5D740}" type="presOf" srcId="{0A9CD440-3C43-46DE-B855-B89A4857C1D9}" destId="{CDDEF109-F0F0-4191-8ABE-01558A3DC708}" srcOrd="0" destOrd="0" presId="urn:microsoft.com/office/officeart/2005/8/layout/lProcess3"/>
    <dgm:cxn modelId="{FB134763-0BD5-4281-BECD-C614CFB988A3}" srcId="{262F4C3F-C676-4D71-AF74-7D55FAF065C9}" destId="{3C26D3EE-5265-40FA-BAF5-FC178B8474AE}" srcOrd="1" destOrd="0" parTransId="{610076E1-FBA0-4FE2-B735-0ED04AD909E0}" sibTransId="{E706D79E-E91B-4F0C-9862-52565BCE8552}"/>
    <dgm:cxn modelId="{AC5F7466-FB30-4440-B8F8-488066FEA280}" type="presOf" srcId="{3C26D3EE-5265-40FA-BAF5-FC178B8474AE}" destId="{605652EA-7243-4ED9-A871-BC342B6BCA3C}" srcOrd="0" destOrd="0" presId="urn:microsoft.com/office/officeart/2005/8/layout/lProcess3"/>
    <dgm:cxn modelId="{17674953-CCF2-42C5-BE37-4F4578D66C64}" type="presOf" srcId="{B76EF217-FE8E-40D6-974D-9001A9C0F3EA}" destId="{D5B8DAA8-FBE1-41AA-8373-18B306DB57E3}" srcOrd="0" destOrd="0" presId="urn:microsoft.com/office/officeart/2005/8/layout/lProcess3"/>
    <dgm:cxn modelId="{0E4FCA77-C645-4140-8265-614DB376D790}" srcId="{F5E2AE61-6FAB-47DF-8453-E4B2C1C1D072}" destId="{6ED97ECF-FB63-4E0E-A200-4AF74EB0EB2D}" srcOrd="1" destOrd="0" parTransId="{10036FE6-2063-477E-AAD0-4632688785D9}" sibTransId="{7E974E32-72C6-4F44-9BD2-64A55BA9D5F9}"/>
    <dgm:cxn modelId="{4F9E057C-AFF1-4EFD-8089-84708E1EC0F4}" srcId="{262F4C3F-C676-4D71-AF74-7D55FAF065C9}" destId="{606C57AC-8224-4F18-8E8F-D3888AFEAA4A}" srcOrd="0" destOrd="0" parTransId="{B12C90F3-C971-4EBD-9318-7B21DBD71B2C}" sibTransId="{30A2000D-DFAB-4C2E-9AE9-5DCBEDFE31C0}"/>
    <dgm:cxn modelId="{8A7FE280-E0AD-4079-9821-9164F7DAEFF5}" type="presOf" srcId="{35EAAF4C-F665-43A2-B8FE-08F7B80E5B9B}" destId="{66BB47F9-1201-4989-B686-D3054D2BE7F4}" srcOrd="0" destOrd="0" presId="urn:microsoft.com/office/officeart/2005/8/layout/lProcess3"/>
    <dgm:cxn modelId="{DB595383-3502-40B1-99BA-5ABE1D4A0647}" srcId="{F5E2AE61-6FAB-47DF-8453-E4B2C1C1D072}" destId="{1E57D251-6F9C-4EAE-977B-75F262931417}" srcOrd="0" destOrd="0" parTransId="{0A698D00-F30C-4436-8AF5-B113A62860DD}" sibTransId="{C7728637-F998-46C2-9871-C5FAACB63795}"/>
    <dgm:cxn modelId="{C1662787-2004-4E9A-A02E-7B4BF7313D28}" type="presOf" srcId="{606C57AC-8224-4F18-8E8F-D3888AFEAA4A}" destId="{4B91D713-B8A5-4C9A-BA98-93AF2F7503DF}" srcOrd="0" destOrd="0" presId="urn:microsoft.com/office/officeart/2005/8/layout/lProcess3"/>
    <dgm:cxn modelId="{BD5F2497-95E7-48F7-971E-4858E9BD5F8E}" srcId="{262F4C3F-C676-4D71-AF74-7D55FAF065C9}" destId="{FED4718F-03AD-4FD9-8736-BC4F224A401E}" srcOrd="2" destOrd="0" parTransId="{D17C0C5A-FC45-445D-BDAD-01CF218F032E}" sibTransId="{D5ABBCB0-4F8F-4465-9916-01CE9FFB23C1}"/>
    <dgm:cxn modelId="{FC7F3CA3-8528-491D-BF46-5C778B33DA96}" type="presOf" srcId="{1E57D251-6F9C-4EAE-977B-75F262931417}" destId="{149B83BC-40AD-45DE-AC86-A28F3D38C072}" srcOrd="0" destOrd="0" presId="urn:microsoft.com/office/officeart/2005/8/layout/lProcess3"/>
    <dgm:cxn modelId="{F35217AB-4D94-4026-8B3D-7833D1FE0338}" type="presOf" srcId="{FED4718F-03AD-4FD9-8736-BC4F224A401E}" destId="{C0C81636-77EE-4791-A739-8A30A4B35C73}" srcOrd="0" destOrd="0" presId="urn:microsoft.com/office/officeart/2005/8/layout/lProcess3"/>
    <dgm:cxn modelId="{13424FB1-B69D-42DC-B2B9-DD72A141AB66}" type="presOf" srcId="{7769F603-4535-4EEE-8047-7D492B162AF5}" destId="{7F60655E-50C8-4C0D-BCFD-F4BA6E78E6E4}" srcOrd="0" destOrd="0" presId="urn:microsoft.com/office/officeart/2005/8/layout/lProcess3"/>
    <dgm:cxn modelId="{E923F4B1-4BDA-46AD-A9FF-EBF0A83C57C1}" type="presOf" srcId="{F5E2AE61-6FAB-47DF-8453-E4B2C1C1D072}" destId="{B4B17F1A-FC36-4AD5-9FD5-12C99F94FF41}" srcOrd="0" destOrd="0" presId="urn:microsoft.com/office/officeart/2005/8/layout/lProcess3"/>
    <dgm:cxn modelId="{34C42FB2-807A-4843-88FC-503B5627C179}" type="presOf" srcId="{6ED97ECF-FB63-4E0E-A200-4AF74EB0EB2D}" destId="{573C6A68-6F9F-4A1A-A8CE-02EA7B4289B5}" srcOrd="0" destOrd="0" presId="urn:microsoft.com/office/officeart/2005/8/layout/lProcess3"/>
    <dgm:cxn modelId="{E9B97DD0-990B-49FC-BDE5-917544C7F1BC}" type="presOf" srcId="{16812DA0-72B4-45DD-BAC6-F0378A4C586B}" destId="{2F25C651-2E36-4EFB-A8EB-DECCAD9D346D}" srcOrd="0" destOrd="0" presId="urn:microsoft.com/office/officeart/2005/8/layout/lProcess3"/>
    <dgm:cxn modelId="{4624BBE6-B487-43F5-BF9B-70ED53B595A8}" srcId="{B76EF217-FE8E-40D6-974D-9001A9C0F3EA}" destId="{0A9CD440-3C43-46DE-B855-B89A4857C1D9}" srcOrd="1" destOrd="0" parTransId="{CD883DCA-8FDE-47A7-9371-FEA1DC6C6B13}" sibTransId="{A26B4316-CD63-4BD3-9179-9C01F627CC58}"/>
    <dgm:cxn modelId="{7D7905EB-E893-4E50-AA45-66452B1BB5A9}" srcId="{16812DA0-72B4-45DD-BAC6-F0378A4C586B}" destId="{F5E2AE61-6FAB-47DF-8453-E4B2C1C1D072}" srcOrd="1" destOrd="0" parTransId="{45723811-843E-4FFD-8118-8DED007B2D95}" sibTransId="{820A7B62-097E-4479-B1E7-387CBA092D1A}"/>
    <dgm:cxn modelId="{66AB85F5-2E9B-43A8-A3FE-4CC05B39BF9F}" srcId="{16812DA0-72B4-45DD-BAC6-F0378A4C586B}" destId="{B76EF217-FE8E-40D6-974D-9001A9C0F3EA}" srcOrd="2" destOrd="0" parTransId="{6188E707-A74C-44E3-BBFA-E136F9DD55F9}" sibTransId="{0FE8A500-EBE8-4EC6-96BD-86399B555388}"/>
    <dgm:cxn modelId="{159B6FFC-D52D-408E-AB4B-E94DF214CD6F}" srcId="{B76EF217-FE8E-40D6-974D-9001A9C0F3EA}" destId="{DC8A0126-F427-4C60-BDE8-A9C599F9858D}" srcOrd="2" destOrd="0" parTransId="{F6AA623C-D858-4477-9699-B33504CCBD6A}" sibTransId="{DA7839E1-6A68-47F1-B5BE-FEF258A83034}"/>
    <dgm:cxn modelId="{394AD0B1-1DFE-46CD-8FFB-98373258B12B}" type="presParOf" srcId="{2F25C651-2E36-4EFB-A8EB-DECCAD9D346D}" destId="{04321527-6214-4004-BB22-8705823E35CC}" srcOrd="0" destOrd="0" presId="urn:microsoft.com/office/officeart/2005/8/layout/lProcess3"/>
    <dgm:cxn modelId="{8A2C567C-90B0-4E01-9959-475306ACB45F}" type="presParOf" srcId="{04321527-6214-4004-BB22-8705823E35CC}" destId="{F68B1E19-D30E-49F7-B304-7CA821B1E4A5}" srcOrd="0" destOrd="0" presId="urn:microsoft.com/office/officeart/2005/8/layout/lProcess3"/>
    <dgm:cxn modelId="{C26DBDEB-4318-4B59-A5B7-E28BB55F461E}" type="presParOf" srcId="{04321527-6214-4004-BB22-8705823E35CC}" destId="{8806F46C-545B-40DA-B211-DF33E9934DDA}" srcOrd="1" destOrd="0" presId="urn:microsoft.com/office/officeart/2005/8/layout/lProcess3"/>
    <dgm:cxn modelId="{34FA066F-3E20-4B3C-A178-D623DB28EE17}" type="presParOf" srcId="{04321527-6214-4004-BB22-8705823E35CC}" destId="{4B91D713-B8A5-4C9A-BA98-93AF2F7503DF}" srcOrd="2" destOrd="0" presId="urn:microsoft.com/office/officeart/2005/8/layout/lProcess3"/>
    <dgm:cxn modelId="{DAB38E5C-3848-462F-8063-02DD72A6DE00}" type="presParOf" srcId="{04321527-6214-4004-BB22-8705823E35CC}" destId="{2107000C-CD92-4A78-B70B-B684FFF685CF}" srcOrd="3" destOrd="0" presId="urn:microsoft.com/office/officeart/2005/8/layout/lProcess3"/>
    <dgm:cxn modelId="{D90C3478-1964-4931-860F-285981D537D6}" type="presParOf" srcId="{04321527-6214-4004-BB22-8705823E35CC}" destId="{605652EA-7243-4ED9-A871-BC342B6BCA3C}" srcOrd="4" destOrd="0" presId="urn:microsoft.com/office/officeart/2005/8/layout/lProcess3"/>
    <dgm:cxn modelId="{D0BB987C-783A-47F7-8A23-F36686AC10EE}" type="presParOf" srcId="{04321527-6214-4004-BB22-8705823E35CC}" destId="{0A71428B-B68F-42F1-987E-9862F21B5084}" srcOrd="5" destOrd="0" presId="urn:microsoft.com/office/officeart/2005/8/layout/lProcess3"/>
    <dgm:cxn modelId="{710DBADC-D0B1-40CB-8CE7-99AB2BCBA4E2}" type="presParOf" srcId="{04321527-6214-4004-BB22-8705823E35CC}" destId="{C0C81636-77EE-4791-A739-8A30A4B35C73}" srcOrd="6" destOrd="0" presId="urn:microsoft.com/office/officeart/2005/8/layout/lProcess3"/>
    <dgm:cxn modelId="{310F0D9E-2A54-45E6-9693-D750F3057C90}" type="presParOf" srcId="{2F25C651-2E36-4EFB-A8EB-DECCAD9D346D}" destId="{15E07602-801A-4C2B-954C-632D246DDCB3}" srcOrd="1" destOrd="0" presId="urn:microsoft.com/office/officeart/2005/8/layout/lProcess3"/>
    <dgm:cxn modelId="{BDE8526B-B915-4F36-A86E-2860F35B4BBE}" type="presParOf" srcId="{2F25C651-2E36-4EFB-A8EB-DECCAD9D346D}" destId="{6CCB491E-8570-43D1-8CEF-7AAB339F4677}" srcOrd="2" destOrd="0" presId="urn:microsoft.com/office/officeart/2005/8/layout/lProcess3"/>
    <dgm:cxn modelId="{A3DA16C0-CA1D-4303-9239-74F946725BE4}" type="presParOf" srcId="{6CCB491E-8570-43D1-8CEF-7AAB339F4677}" destId="{B4B17F1A-FC36-4AD5-9FD5-12C99F94FF41}" srcOrd="0" destOrd="0" presId="urn:microsoft.com/office/officeart/2005/8/layout/lProcess3"/>
    <dgm:cxn modelId="{5BF08D3A-0E82-403A-9246-EF76946414E0}" type="presParOf" srcId="{6CCB491E-8570-43D1-8CEF-7AAB339F4677}" destId="{51FDE5EE-00E7-4DC6-9968-F6CE9B00A4A3}" srcOrd="1" destOrd="0" presId="urn:microsoft.com/office/officeart/2005/8/layout/lProcess3"/>
    <dgm:cxn modelId="{6C993382-F64D-4DA8-89DE-9A35B5E5EC38}" type="presParOf" srcId="{6CCB491E-8570-43D1-8CEF-7AAB339F4677}" destId="{149B83BC-40AD-45DE-AC86-A28F3D38C072}" srcOrd="2" destOrd="0" presId="urn:microsoft.com/office/officeart/2005/8/layout/lProcess3"/>
    <dgm:cxn modelId="{71088076-E0AB-4E91-8E66-7474CB02D04A}" type="presParOf" srcId="{6CCB491E-8570-43D1-8CEF-7AAB339F4677}" destId="{02FE7019-D4D5-4D4A-97C0-FDAA7AFA70F3}" srcOrd="3" destOrd="0" presId="urn:microsoft.com/office/officeart/2005/8/layout/lProcess3"/>
    <dgm:cxn modelId="{F27D8268-0437-4891-9ADC-9C9B8A9547A0}" type="presParOf" srcId="{6CCB491E-8570-43D1-8CEF-7AAB339F4677}" destId="{573C6A68-6F9F-4A1A-A8CE-02EA7B4289B5}" srcOrd="4" destOrd="0" presId="urn:microsoft.com/office/officeart/2005/8/layout/lProcess3"/>
    <dgm:cxn modelId="{B05EAD8A-ABF8-4CC1-8FD1-A1B27DDCAE42}" type="presParOf" srcId="{6CCB491E-8570-43D1-8CEF-7AAB339F4677}" destId="{B035FA42-84B1-4B5D-89F8-2D6650B315E5}" srcOrd="5" destOrd="0" presId="urn:microsoft.com/office/officeart/2005/8/layout/lProcess3"/>
    <dgm:cxn modelId="{19550AFB-784A-4505-88A9-E73BA825B73E}" type="presParOf" srcId="{6CCB491E-8570-43D1-8CEF-7AAB339F4677}" destId="{66BB47F9-1201-4989-B686-D3054D2BE7F4}" srcOrd="6" destOrd="0" presId="urn:microsoft.com/office/officeart/2005/8/layout/lProcess3"/>
    <dgm:cxn modelId="{681E4EED-03A7-4A66-917C-26621AE98272}" type="presParOf" srcId="{2F25C651-2E36-4EFB-A8EB-DECCAD9D346D}" destId="{00B05A46-D4BC-4EE9-A1A7-C38A98E4F744}" srcOrd="3" destOrd="0" presId="urn:microsoft.com/office/officeart/2005/8/layout/lProcess3"/>
    <dgm:cxn modelId="{54FB79BF-B27C-45C7-BC15-4CBDBC745D6F}" type="presParOf" srcId="{2F25C651-2E36-4EFB-A8EB-DECCAD9D346D}" destId="{AF778EE3-398A-4619-9CF6-EECA538902A3}" srcOrd="4" destOrd="0" presId="urn:microsoft.com/office/officeart/2005/8/layout/lProcess3"/>
    <dgm:cxn modelId="{DFE3F8E7-3483-44F5-83F3-0BCB204D82EA}" type="presParOf" srcId="{AF778EE3-398A-4619-9CF6-EECA538902A3}" destId="{D5B8DAA8-FBE1-41AA-8373-18B306DB57E3}" srcOrd="0" destOrd="0" presId="urn:microsoft.com/office/officeart/2005/8/layout/lProcess3"/>
    <dgm:cxn modelId="{E5A3C0D3-AD77-4C81-BC0B-F4A4D6992CDB}" type="presParOf" srcId="{AF778EE3-398A-4619-9CF6-EECA538902A3}" destId="{7EA980B2-A579-4158-8F23-B06CCA18E97E}" srcOrd="1" destOrd="0" presId="urn:microsoft.com/office/officeart/2005/8/layout/lProcess3"/>
    <dgm:cxn modelId="{C2AAAFBA-4ED7-429D-9098-BDFAA19C8B95}" type="presParOf" srcId="{AF778EE3-398A-4619-9CF6-EECA538902A3}" destId="{7F60655E-50C8-4C0D-BCFD-F4BA6E78E6E4}" srcOrd="2" destOrd="0" presId="urn:microsoft.com/office/officeart/2005/8/layout/lProcess3"/>
    <dgm:cxn modelId="{9441C81D-CCB6-4A5D-932A-AD867DA0FBC5}" type="presParOf" srcId="{AF778EE3-398A-4619-9CF6-EECA538902A3}" destId="{FCB5271B-932D-442F-951C-BA4753A98D68}" srcOrd="3" destOrd="0" presId="urn:microsoft.com/office/officeart/2005/8/layout/lProcess3"/>
    <dgm:cxn modelId="{9695F67D-F348-412D-AD4D-F5B839D12FA1}" type="presParOf" srcId="{AF778EE3-398A-4619-9CF6-EECA538902A3}" destId="{CDDEF109-F0F0-4191-8ABE-01558A3DC708}" srcOrd="4" destOrd="0" presId="urn:microsoft.com/office/officeart/2005/8/layout/lProcess3"/>
    <dgm:cxn modelId="{A84BE614-BD3B-42E9-967C-D94CFF3C495F}" type="presParOf" srcId="{AF778EE3-398A-4619-9CF6-EECA538902A3}" destId="{BED9D1FD-D3DB-44FC-B877-C6BDB98E6D76}" srcOrd="5" destOrd="0" presId="urn:microsoft.com/office/officeart/2005/8/layout/lProcess3"/>
    <dgm:cxn modelId="{A4D72D89-2816-42A5-B257-EB51A0131C9D}" type="presParOf" srcId="{AF778EE3-398A-4619-9CF6-EECA538902A3}" destId="{7CCCD821-9136-42F2-9D46-DDE5AE32A7B4}" srcOrd="6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8B1E19-D30E-49F7-B304-7CA821B1E4A5}">
      <dsp:nvSpPr>
        <dsp:cNvPr id="0" name=""/>
        <dsp:cNvSpPr/>
      </dsp:nvSpPr>
      <dsp:spPr>
        <a:xfrm>
          <a:off x="5874" y="887418"/>
          <a:ext cx="3013597" cy="1205439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Aptos Display" panose="02110004020202020204"/>
            </a:rPr>
            <a:t>Pre-operative</a:t>
          </a:r>
          <a:endParaRPr lang="en-US" sz="2000" b="1" kern="1200" dirty="0"/>
        </a:p>
      </dsp:txBody>
      <dsp:txXfrm>
        <a:off x="608594" y="887418"/>
        <a:ext cx="1808158" cy="1205439"/>
      </dsp:txXfrm>
    </dsp:sp>
    <dsp:sp modelId="{4B91D713-B8A5-4C9A-BA98-93AF2F7503DF}">
      <dsp:nvSpPr>
        <dsp:cNvPr id="0" name=""/>
        <dsp:cNvSpPr/>
      </dsp:nvSpPr>
      <dsp:spPr>
        <a:xfrm>
          <a:off x="2627704" y="989880"/>
          <a:ext cx="2501285" cy="1000514"/>
        </a:xfrm>
        <a:prstGeom prst="chevron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Aptos Display" panose="02110004020202020204"/>
            </a:rPr>
            <a:t>See patient on ward</a:t>
          </a:r>
          <a:endParaRPr lang="en-US" sz="1400" kern="1200" dirty="0"/>
        </a:p>
      </dsp:txBody>
      <dsp:txXfrm>
        <a:off x="3127961" y="989880"/>
        <a:ext cx="1500771" cy="1000514"/>
      </dsp:txXfrm>
    </dsp:sp>
    <dsp:sp modelId="{605652EA-7243-4ED9-A871-BC342B6BCA3C}">
      <dsp:nvSpPr>
        <dsp:cNvPr id="0" name=""/>
        <dsp:cNvSpPr/>
      </dsp:nvSpPr>
      <dsp:spPr>
        <a:xfrm>
          <a:off x="4778809" y="989880"/>
          <a:ext cx="2501285" cy="1000514"/>
        </a:xfrm>
        <a:prstGeom prst="chevron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Aptos Display" panose="02110004020202020204"/>
            </a:rPr>
            <a:t>Check blood results on Expanse and paper consent form</a:t>
          </a:r>
          <a:endParaRPr lang="en-US" sz="1400" kern="1200" dirty="0"/>
        </a:p>
      </dsp:txBody>
      <dsp:txXfrm>
        <a:off x="5279066" y="989880"/>
        <a:ext cx="1500771" cy="1000514"/>
      </dsp:txXfrm>
    </dsp:sp>
    <dsp:sp modelId="{C0C81636-77EE-4791-A739-8A30A4B35C73}">
      <dsp:nvSpPr>
        <dsp:cNvPr id="0" name=""/>
        <dsp:cNvSpPr/>
      </dsp:nvSpPr>
      <dsp:spPr>
        <a:xfrm>
          <a:off x="6929915" y="989880"/>
          <a:ext cx="2501285" cy="1000514"/>
        </a:xfrm>
        <a:prstGeom prst="chevron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latin typeface="Aptos Display" panose="02110004020202020204"/>
            </a:rPr>
            <a:t>Document pre-operative review:</a:t>
          </a:r>
        </a:p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latin typeface="Aptos Display" panose="02110004020202020204"/>
            </a:rPr>
            <a:t>Obstetrics Inpatient Note</a:t>
          </a:r>
        </a:p>
      </dsp:txBody>
      <dsp:txXfrm>
        <a:off x="7430172" y="989880"/>
        <a:ext cx="1500771" cy="1000514"/>
      </dsp:txXfrm>
    </dsp:sp>
    <dsp:sp modelId="{B4B17F1A-FC36-4AD5-9FD5-12C99F94FF41}">
      <dsp:nvSpPr>
        <dsp:cNvPr id="0" name=""/>
        <dsp:cNvSpPr/>
      </dsp:nvSpPr>
      <dsp:spPr>
        <a:xfrm>
          <a:off x="5874" y="2261618"/>
          <a:ext cx="3013597" cy="1205439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Aptos Display" panose="02110004020202020204"/>
            </a:rPr>
            <a:t>Intra-operative</a:t>
          </a:r>
          <a:endParaRPr lang="en-US" sz="2000" b="1" kern="1200" dirty="0"/>
        </a:p>
      </dsp:txBody>
      <dsp:txXfrm>
        <a:off x="608594" y="2261618"/>
        <a:ext cx="1808158" cy="1205439"/>
      </dsp:txXfrm>
    </dsp:sp>
    <dsp:sp modelId="{149B83BC-40AD-45DE-AC86-A28F3D38C072}">
      <dsp:nvSpPr>
        <dsp:cNvPr id="0" name=""/>
        <dsp:cNvSpPr/>
      </dsp:nvSpPr>
      <dsp:spPr>
        <a:xfrm>
          <a:off x="2627704" y="2364080"/>
          <a:ext cx="2501285" cy="1000514"/>
        </a:xfrm>
        <a:prstGeom prst="chevron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Aptos Display" panose="02110004020202020204"/>
            </a:rPr>
            <a:t>Pre-operative checklists (documented by theatre team)</a:t>
          </a:r>
          <a:endParaRPr lang="en-US" sz="1400" kern="1200" dirty="0">
            <a:latin typeface="Aptos Display" panose="02110004020202020204"/>
            <a:ea typeface="Calibri"/>
            <a:cs typeface="Calibri"/>
          </a:endParaRPr>
        </a:p>
      </dsp:txBody>
      <dsp:txXfrm>
        <a:off x="3127961" y="2364080"/>
        <a:ext cx="1500771" cy="1000514"/>
      </dsp:txXfrm>
    </dsp:sp>
    <dsp:sp modelId="{573C6A68-6F9F-4A1A-A8CE-02EA7B4289B5}">
      <dsp:nvSpPr>
        <dsp:cNvPr id="0" name=""/>
        <dsp:cNvSpPr/>
      </dsp:nvSpPr>
      <dsp:spPr>
        <a:xfrm>
          <a:off x="4778809" y="2364080"/>
          <a:ext cx="2501285" cy="1000514"/>
        </a:xfrm>
        <a:prstGeom prst="chevron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erform caesarean section</a:t>
          </a:r>
        </a:p>
      </dsp:txBody>
      <dsp:txXfrm>
        <a:off x="5279066" y="2364080"/>
        <a:ext cx="1500771" cy="1000514"/>
      </dsp:txXfrm>
    </dsp:sp>
    <dsp:sp modelId="{66BB47F9-1201-4989-B686-D3054D2BE7F4}">
      <dsp:nvSpPr>
        <dsp:cNvPr id="0" name=""/>
        <dsp:cNvSpPr/>
      </dsp:nvSpPr>
      <dsp:spPr>
        <a:xfrm>
          <a:off x="6929915" y="2364080"/>
          <a:ext cx="2501285" cy="1000514"/>
        </a:xfrm>
        <a:prstGeom prst="chevron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Calibri"/>
              <a:ea typeface="Calibri"/>
              <a:cs typeface="Calibri"/>
            </a:rPr>
            <a:t>Document caesarean section:</a:t>
          </a:r>
        </a:p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>
              <a:latin typeface="Calibri"/>
              <a:ea typeface="Calibri"/>
              <a:cs typeface="Calibri"/>
            </a:rPr>
            <a:t>Obs</a:t>
          </a:r>
          <a:r>
            <a:rPr lang="en-US" sz="1400" kern="1200" dirty="0">
              <a:latin typeface="Calibri"/>
              <a:ea typeface="Calibri"/>
              <a:cs typeface="Calibri"/>
            </a:rPr>
            <a:t> Caesarean Section</a:t>
          </a:r>
        </a:p>
      </dsp:txBody>
      <dsp:txXfrm>
        <a:off x="7430172" y="2364080"/>
        <a:ext cx="1500771" cy="1000514"/>
      </dsp:txXfrm>
    </dsp:sp>
    <dsp:sp modelId="{D5B8DAA8-FBE1-41AA-8373-18B306DB57E3}">
      <dsp:nvSpPr>
        <dsp:cNvPr id="0" name=""/>
        <dsp:cNvSpPr/>
      </dsp:nvSpPr>
      <dsp:spPr>
        <a:xfrm>
          <a:off x="5874" y="3635818"/>
          <a:ext cx="3013597" cy="1205439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Aptos Display" panose="02110004020202020204"/>
            </a:rPr>
            <a:t>Post-operative</a:t>
          </a:r>
          <a:endParaRPr lang="en-US" sz="2000" b="1" kern="1200" dirty="0"/>
        </a:p>
      </dsp:txBody>
      <dsp:txXfrm>
        <a:off x="608594" y="3635818"/>
        <a:ext cx="1808158" cy="1205439"/>
      </dsp:txXfrm>
    </dsp:sp>
    <dsp:sp modelId="{7F60655E-50C8-4C0D-BCFD-F4BA6E78E6E4}">
      <dsp:nvSpPr>
        <dsp:cNvPr id="0" name=""/>
        <dsp:cNvSpPr/>
      </dsp:nvSpPr>
      <dsp:spPr>
        <a:xfrm>
          <a:off x="2627704" y="3738281"/>
          <a:ext cx="2501285" cy="1000514"/>
        </a:xfrm>
        <a:prstGeom prst="chevron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Aptos Display" panose="02110004020202020204"/>
            </a:rPr>
            <a:t>Review patient on postnatal ward</a:t>
          </a:r>
          <a:endParaRPr lang="en-US" sz="1400" kern="1200" dirty="0"/>
        </a:p>
      </dsp:txBody>
      <dsp:txXfrm>
        <a:off x="3127961" y="3738281"/>
        <a:ext cx="1500771" cy="1000514"/>
      </dsp:txXfrm>
    </dsp:sp>
    <dsp:sp modelId="{CDDEF109-F0F0-4191-8ABE-01558A3DC708}">
      <dsp:nvSpPr>
        <dsp:cNvPr id="0" name=""/>
        <dsp:cNvSpPr/>
      </dsp:nvSpPr>
      <dsp:spPr>
        <a:xfrm>
          <a:off x="4778809" y="3738281"/>
          <a:ext cx="2501285" cy="1000514"/>
        </a:xfrm>
        <a:prstGeom prst="chevron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Aptos Display" panose="02110004020202020204"/>
            </a:rPr>
            <a:t>Order blood tests and medications</a:t>
          </a:r>
        </a:p>
      </dsp:txBody>
      <dsp:txXfrm>
        <a:off x="5279066" y="3738281"/>
        <a:ext cx="1500771" cy="1000514"/>
      </dsp:txXfrm>
    </dsp:sp>
    <dsp:sp modelId="{7CCCD821-9136-42F2-9D46-DDE5AE32A7B4}">
      <dsp:nvSpPr>
        <dsp:cNvPr id="0" name=""/>
        <dsp:cNvSpPr/>
      </dsp:nvSpPr>
      <dsp:spPr>
        <a:xfrm>
          <a:off x="6929915" y="3738281"/>
          <a:ext cx="2501285" cy="1000514"/>
        </a:xfrm>
        <a:prstGeom prst="chevron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Aptos Display" panose="02110004020202020204"/>
            </a:rPr>
            <a:t>Document post-natal review:</a:t>
          </a:r>
        </a:p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Obs</a:t>
          </a:r>
          <a:r>
            <a:rPr lang="en-US" sz="1400" kern="1200" dirty="0"/>
            <a:t> Postnatal Review</a:t>
          </a:r>
        </a:p>
      </dsp:txBody>
      <dsp:txXfrm>
        <a:off x="7430172" y="3738281"/>
        <a:ext cx="1500771" cy="10005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A1BCF5-954A-4E5C-8079-1E8FA910B5DD}" type="datetimeFigureOut">
              <a:t>10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DC76AE-8ECA-469C-B3CB-A0334760A95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7164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A852D9-AC43-D6E8-59BB-D3CDF8B38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9FC154-14E4-191C-A460-4C4557C6A9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04EBB6-663B-1945-27C3-3EF1871A10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574111-5B90-A91E-3895-C9479EB501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584D9-F940-4182-A515-1C859330238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8886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4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ntr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2408841"/>
            <a:ext cx="5895561" cy="1520974"/>
          </a:xfrm>
        </p:spPr>
        <p:txBody>
          <a:bodyPr anchor="t" anchorCtr="0">
            <a:noAutofit/>
          </a:bodyPr>
          <a:lstStyle>
            <a:lvl1pPr algn="l">
              <a:defRPr sz="5000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2" y="3965965"/>
            <a:ext cx="5895560" cy="675589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B8B030-2903-74B5-A1B7-6EF54BA9D6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09426" y="3130630"/>
            <a:ext cx="2125374" cy="5967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823D27-B6F1-9654-7679-9D569D40AAD7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93398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 - Teal Diamo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97717B-A906-E76E-82E7-A47DEDFD38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278321" y="3199421"/>
            <a:ext cx="1635357" cy="4591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D03AAD4-4C9F-FD1D-1D48-286B7301D49E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660798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 -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6B4C837-9F26-8259-2B37-4B92E4A8EF41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tx2"/>
          </a:solidFill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CB96E0E8-7B72-1F1E-474E-779B977A8EF9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476C21-655D-520C-28CC-6D688C986083}"/>
                </a:ext>
              </a:extLst>
            </p:cNvPr>
            <p:cNvSpPr/>
            <p:nvPr userDrawn="1"/>
          </p:nvSpPr>
          <p:spPr>
            <a:xfrm>
              <a:off x="-2" y="1"/>
              <a:ext cx="601364" cy="59312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8449885-A584-C28D-C49B-4A0E313415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362823"/>
            <a:ext cx="11503025" cy="456090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83E72-7917-B3F2-BBDD-9106096883CC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673222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Oran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CAA04-59AE-FF4F-9CAE-775889BC0DAA}"/>
              </a:ext>
            </a:extLst>
          </p:cNvPr>
          <p:cNvSpPr/>
          <p:nvPr userDrawn="1"/>
        </p:nvSpPr>
        <p:spPr>
          <a:xfrm>
            <a:off x="0" y="1"/>
            <a:ext cx="12192000" cy="17370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1" y="1206845"/>
            <a:ext cx="11277599" cy="395223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827D695-0AB2-ABA5-938D-C58B74FDBB38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5"/>
          </a:solidFill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B1341B19-ECEF-A3A8-B374-4AC6F72DB1B2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D49D1AB-F9F1-03EE-A7A3-DADBF78ADF33}"/>
                </a:ext>
              </a:extLst>
            </p:cNvPr>
            <p:cNvSpPr/>
            <p:nvPr userDrawn="1"/>
          </p:nvSpPr>
          <p:spPr>
            <a:xfrm>
              <a:off x="-2" y="1"/>
              <a:ext cx="593126" cy="6178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4B82FFD7-F5F4-C35B-E461-91F709E1E2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9D4AAA9F-910E-8079-3786-66255EFE80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995659"/>
            <a:ext cx="11503025" cy="392806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281C6C-AB7E-61FB-7163-57C162D2DAB9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30082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8B354-8765-1E45-BA8D-C0A16603DF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6956" y="461120"/>
            <a:ext cx="11140108" cy="477837"/>
          </a:xfrm>
        </p:spPr>
        <p:txBody>
          <a:bodyPr anchor="b">
            <a:noAutofit/>
          </a:bodyPr>
          <a:lstStyle>
            <a:lvl1pPr algn="l">
              <a:defRPr sz="3000" b="1" spc="300">
                <a:solidFill>
                  <a:schemeClr val="tx2"/>
                </a:solidFill>
              </a:defRPr>
            </a:lvl1pPr>
          </a:lstStyle>
          <a:p>
            <a:r>
              <a:rPr lang="en-GB"/>
              <a:t>THIS IS A SLIDE TIT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2D144F-900D-CB01-134E-1ED71A9831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955" y="964833"/>
            <a:ext cx="11140108" cy="295633"/>
          </a:xfrm>
        </p:spPr>
        <p:txBody>
          <a:bodyPr>
            <a:normAutofit/>
          </a:bodyPr>
          <a:lstStyle>
            <a:lvl1pPr marL="0" indent="0" algn="l">
              <a:buNone/>
              <a:defRPr sz="1800" b="0" spc="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THIS IS A SLIDE SUBTITLE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2905FF-9224-C920-694B-565FC8078F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44792" y="6372651"/>
            <a:ext cx="2705335" cy="22871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F2D33D1-E8DB-0835-52BB-530D4B8EC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6954" y="1490870"/>
            <a:ext cx="11140107" cy="44022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9695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Box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8B354-8765-1E45-BA8D-C0A16603DF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6956" y="461120"/>
            <a:ext cx="11140108" cy="477837"/>
          </a:xfrm>
        </p:spPr>
        <p:txBody>
          <a:bodyPr anchor="b">
            <a:noAutofit/>
          </a:bodyPr>
          <a:lstStyle>
            <a:lvl1pPr algn="l">
              <a:defRPr sz="3000" b="1" spc="300">
                <a:solidFill>
                  <a:schemeClr val="tx2"/>
                </a:solidFill>
              </a:defRPr>
            </a:lvl1pPr>
          </a:lstStyle>
          <a:p>
            <a:r>
              <a:rPr lang="en-GB"/>
              <a:t>THIS IS A SLIDE TIT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2D144F-900D-CB01-134E-1ED71A9831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955" y="964833"/>
            <a:ext cx="11140108" cy="295633"/>
          </a:xfrm>
        </p:spPr>
        <p:txBody>
          <a:bodyPr>
            <a:normAutofit/>
          </a:bodyPr>
          <a:lstStyle>
            <a:lvl1pPr marL="0" indent="0" algn="l">
              <a:buNone/>
              <a:defRPr sz="1800" b="0" spc="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THIS IS A SLIDE SUBTITLE</a:t>
            </a:r>
            <a:endParaRPr lang="en-US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11C81912-CD18-E535-533E-8C57E5B60B4F}"/>
              </a:ext>
            </a:extLst>
          </p:cNvPr>
          <p:cNvSpPr txBox="1">
            <a:spLocks/>
          </p:cNvSpPr>
          <p:nvPr userDrawn="1"/>
        </p:nvSpPr>
        <p:spPr>
          <a:xfrm>
            <a:off x="0" y="2950018"/>
            <a:ext cx="12192000" cy="1604848"/>
          </a:xfrm>
          <a:prstGeom prst="rect">
            <a:avLst/>
          </a:prstGeom>
          <a:solidFill>
            <a:schemeClr val="accent1"/>
          </a:solidFill>
        </p:spPr>
        <p:txBody>
          <a:bodyPr vert="horz" lIns="108000" tIns="108000" rIns="108000" bIns="108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Tx/>
              <a:buNone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SzPct val="65000"/>
              <a:buFont typeface="Wingdings" panose="05000000000000000000" pitchFamily="2" charset="2"/>
              <a:buChar char="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25475" indent="-263525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60363" indent="-3603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endParaRPr lang="en-GB" sz="16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F235CA3F-F16C-C768-127A-1FF47203692C}"/>
              </a:ext>
            </a:extLst>
          </p:cNvPr>
          <p:cNvSpPr txBox="1">
            <a:spLocks/>
          </p:cNvSpPr>
          <p:nvPr userDrawn="1"/>
        </p:nvSpPr>
        <p:spPr>
          <a:xfrm>
            <a:off x="558839" y="1772431"/>
            <a:ext cx="3524870" cy="403007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vert="horz" lIns="108000" tIns="108000" rIns="108000" bIns="108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Tx/>
              <a:buNone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SzPct val="65000"/>
              <a:buFont typeface="Wingdings" panose="05000000000000000000" pitchFamily="2" charset="2"/>
              <a:buChar char="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25475" indent="-263525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60363" indent="-3603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endParaRPr lang="en-GB" sz="16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55658B62-5052-99CC-5D47-C2313F050A9D}"/>
              </a:ext>
            </a:extLst>
          </p:cNvPr>
          <p:cNvSpPr txBox="1">
            <a:spLocks/>
          </p:cNvSpPr>
          <p:nvPr userDrawn="1"/>
        </p:nvSpPr>
        <p:spPr>
          <a:xfrm>
            <a:off x="4338409" y="1770271"/>
            <a:ext cx="3524870" cy="403007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vert="horz" lIns="108000" tIns="108000" rIns="108000" bIns="108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Tx/>
              <a:buNone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SzPct val="65000"/>
              <a:buFont typeface="Wingdings" panose="05000000000000000000" pitchFamily="2" charset="2"/>
              <a:buChar char="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25475" indent="-263525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60363" indent="-3603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endParaRPr lang="en-GB" sz="16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009CD991-89F8-7D43-E71A-A977E9EC60B8}"/>
              </a:ext>
            </a:extLst>
          </p:cNvPr>
          <p:cNvSpPr txBox="1">
            <a:spLocks/>
          </p:cNvSpPr>
          <p:nvPr userDrawn="1"/>
        </p:nvSpPr>
        <p:spPr>
          <a:xfrm>
            <a:off x="8156099" y="1772431"/>
            <a:ext cx="3524870" cy="403007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vert="horz" lIns="108000" tIns="108000" rIns="108000" bIns="108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Tx/>
              <a:buNone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SzPct val="65000"/>
              <a:buFont typeface="Wingdings" panose="05000000000000000000" pitchFamily="2" charset="2"/>
              <a:buChar char="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25475" indent="-263525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60363" indent="-3603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endParaRPr lang="en-GB" sz="16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B3CE1428-69E5-62F0-FF39-F5CDAA5B1E40}"/>
              </a:ext>
            </a:extLst>
          </p:cNvPr>
          <p:cNvSpPr txBox="1">
            <a:spLocks/>
          </p:cNvSpPr>
          <p:nvPr userDrawn="1"/>
        </p:nvSpPr>
        <p:spPr>
          <a:xfrm>
            <a:off x="558839" y="1776350"/>
            <a:ext cx="3524870" cy="208737"/>
          </a:xfrm>
          <a:prstGeom prst="rect">
            <a:avLst/>
          </a:prstGeom>
          <a:solidFill>
            <a:schemeClr val="tx2"/>
          </a:solidFill>
        </p:spPr>
        <p:txBody>
          <a:bodyPr vert="horz" lIns="108000" tIns="108000" rIns="108000" bIns="108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Tx/>
              <a:buNone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SzPct val="65000"/>
              <a:buFont typeface="Wingdings" panose="05000000000000000000" pitchFamily="2" charset="2"/>
              <a:buChar char="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25475" indent="-263525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60363" indent="-3603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endParaRPr lang="en-GB" sz="16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0AAEA5B1-5DCB-DC4A-C710-EA4B30F9650D}"/>
              </a:ext>
            </a:extLst>
          </p:cNvPr>
          <p:cNvSpPr txBox="1">
            <a:spLocks/>
          </p:cNvSpPr>
          <p:nvPr userDrawn="1"/>
        </p:nvSpPr>
        <p:spPr>
          <a:xfrm>
            <a:off x="4338409" y="1770272"/>
            <a:ext cx="3524870" cy="208737"/>
          </a:xfrm>
          <a:prstGeom prst="rect">
            <a:avLst/>
          </a:prstGeom>
          <a:solidFill>
            <a:schemeClr val="tx2"/>
          </a:solidFill>
        </p:spPr>
        <p:txBody>
          <a:bodyPr vert="horz" lIns="108000" tIns="108000" rIns="108000" bIns="108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Tx/>
              <a:buNone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SzPct val="65000"/>
              <a:buFont typeface="Wingdings" panose="05000000000000000000" pitchFamily="2" charset="2"/>
              <a:buChar char="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25475" indent="-263525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60363" indent="-3603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endParaRPr lang="en-GB" sz="16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0336A721-E8BD-905C-BA13-8C184ED86FBC}"/>
              </a:ext>
            </a:extLst>
          </p:cNvPr>
          <p:cNvSpPr txBox="1">
            <a:spLocks/>
          </p:cNvSpPr>
          <p:nvPr userDrawn="1"/>
        </p:nvSpPr>
        <p:spPr>
          <a:xfrm>
            <a:off x="8156099" y="1770272"/>
            <a:ext cx="3524870" cy="208737"/>
          </a:xfrm>
          <a:prstGeom prst="rect">
            <a:avLst/>
          </a:prstGeom>
          <a:solidFill>
            <a:schemeClr val="tx2"/>
          </a:solidFill>
        </p:spPr>
        <p:txBody>
          <a:bodyPr vert="horz" lIns="108000" tIns="108000" rIns="108000" bIns="108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Tx/>
              <a:buNone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SzPct val="65000"/>
              <a:buFont typeface="Wingdings" panose="05000000000000000000" pitchFamily="2" charset="2"/>
              <a:buChar char="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25475" indent="-263525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360363" indent="-3603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Tx/>
              <a:buNone/>
              <a:defRPr sz="1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endParaRPr lang="en-GB" sz="16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851A5F65-64E9-861D-C6CA-8089C41CAB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459" y="2204501"/>
            <a:ext cx="3215438" cy="33812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4E66BF7C-A3F7-A1E1-3C0C-0F0CE10114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12185" y="2205826"/>
            <a:ext cx="3215438" cy="33812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D8C97143-9637-9EF6-56AB-6D70009D7B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10815" y="2204501"/>
            <a:ext cx="3215438" cy="33812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019F7C-914C-FE14-9DF5-D2EAF54901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31729" y="6228958"/>
            <a:ext cx="2705335" cy="228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851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09BD8-2AB7-5188-75A8-2A5DCA10E710}"/>
              </a:ext>
            </a:extLst>
          </p:cNvPr>
          <p:cNvSpPr txBox="1"/>
          <p:nvPr userDrawn="1"/>
        </p:nvSpPr>
        <p:spPr>
          <a:xfrm>
            <a:off x="-1143000" y="141316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4EB60008-9125-5272-296E-25432A87D3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132503"/>
            <a:ext cx="11503025" cy="479122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907BD3-E0FC-9582-4051-C212505E3D8E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7318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8B354-8765-1E45-BA8D-C0A16603DF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6956" y="461120"/>
            <a:ext cx="11140108" cy="477837"/>
          </a:xfrm>
        </p:spPr>
        <p:txBody>
          <a:bodyPr anchor="b">
            <a:noAutofit/>
          </a:bodyPr>
          <a:lstStyle>
            <a:lvl1pPr algn="l">
              <a:defRPr sz="3000" b="1" spc="300">
                <a:solidFill>
                  <a:schemeClr val="tx2"/>
                </a:solidFill>
              </a:defRPr>
            </a:lvl1pPr>
          </a:lstStyle>
          <a:p>
            <a:r>
              <a:rPr lang="en-GB"/>
              <a:t>THIS IS A SLIDE TIT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2D144F-900D-CB01-134E-1ED71A9831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955" y="964833"/>
            <a:ext cx="11140108" cy="295633"/>
          </a:xfrm>
        </p:spPr>
        <p:txBody>
          <a:bodyPr>
            <a:normAutofit/>
          </a:bodyPr>
          <a:lstStyle>
            <a:lvl1pPr marL="0" indent="0" algn="l">
              <a:buNone/>
              <a:defRPr sz="1800" b="0" spc="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THIS IS A SLIDE SUBTITLE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2905FF-9224-C920-694B-565FC8078F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31729" y="6228958"/>
            <a:ext cx="2705335" cy="22871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F2D33D1-E8DB-0835-52BB-530D4B8EC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6954" y="1490870"/>
            <a:ext cx="11140107" cy="44022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755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ox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3E8CF37-3B3A-FE31-2A26-F6BE1655A02F}"/>
              </a:ext>
            </a:extLst>
          </p:cNvPr>
          <p:cNvGrpSpPr/>
          <p:nvPr userDrawn="1"/>
        </p:nvGrpSpPr>
        <p:grpSpPr>
          <a:xfrm>
            <a:off x="426720" y="1115990"/>
            <a:ext cx="2658325" cy="4801558"/>
            <a:chOff x="426720" y="1684682"/>
            <a:chExt cx="3530600" cy="4232865"/>
          </a:xfrm>
        </p:grpSpPr>
        <p:sp>
          <p:nvSpPr>
            <p:cNvPr id="5" name="Round Diagonal Corner of Rectangle 4">
              <a:extLst>
                <a:ext uri="{FF2B5EF4-FFF2-40B4-BE49-F238E27FC236}">
                  <a16:creationId xmlns:a16="http://schemas.microsoft.com/office/drawing/2014/main" id="{FC7A0D5A-7E56-BB2C-8A41-350BFB3ABF8A}"/>
                </a:ext>
              </a:extLst>
            </p:cNvPr>
            <p:cNvSpPr/>
            <p:nvPr userDrawn="1"/>
          </p:nvSpPr>
          <p:spPr>
            <a:xfrm>
              <a:off x="426720" y="1684682"/>
              <a:ext cx="3530600" cy="4232865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A44D4F-BD6E-08F3-97CF-7B7BE6F36D1E}"/>
                </a:ext>
              </a:extLst>
            </p:cNvPr>
            <p:cNvSpPr/>
            <p:nvPr userDrawn="1"/>
          </p:nvSpPr>
          <p:spPr>
            <a:xfrm>
              <a:off x="426720" y="1684682"/>
              <a:ext cx="1005840" cy="76387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C4BE471-CE62-3F24-357D-45177CC3B606}"/>
              </a:ext>
            </a:extLst>
          </p:cNvPr>
          <p:cNvGrpSpPr/>
          <p:nvPr userDrawn="1"/>
        </p:nvGrpSpPr>
        <p:grpSpPr>
          <a:xfrm>
            <a:off x="3343566" y="1122763"/>
            <a:ext cx="2658325" cy="4801558"/>
            <a:chOff x="4330700" y="1684682"/>
            <a:chExt cx="3530600" cy="4232865"/>
          </a:xfrm>
        </p:grpSpPr>
        <p:sp>
          <p:nvSpPr>
            <p:cNvPr id="6" name="Round Diagonal Corner of Rectangle 5">
              <a:extLst>
                <a:ext uri="{FF2B5EF4-FFF2-40B4-BE49-F238E27FC236}">
                  <a16:creationId xmlns:a16="http://schemas.microsoft.com/office/drawing/2014/main" id="{121690CA-00D0-96A0-CAD5-8A19A3317C04}"/>
                </a:ext>
              </a:extLst>
            </p:cNvPr>
            <p:cNvSpPr/>
            <p:nvPr userDrawn="1"/>
          </p:nvSpPr>
          <p:spPr>
            <a:xfrm>
              <a:off x="4330700" y="1684682"/>
              <a:ext cx="3530600" cy="4232865"/>
            </a:xfrm>
            <a:prstGeom prst="round2Diag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4824AB-3041-8153-87FB-92EC377692DE}"/>
                </a:ext>
              </a:extLst>
            </p:cNvPr>
            <p:cNvSpPr/>
            <p:nvPr userDrawn="1"/>
          </p:nvSpPr>
          <p:spPr>
            <a:xfrm>
              <a:off x="4336469" y="1684682"/>
              <a:ext cx="1005840" cy="763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22E9404-2D42-118D-7F9A-A810C5E6B5D7}"/>
              </a:ext>
            </a:extLst>
          </p:cNvPr>
          <p:cNvGrpSpPr/>
          <p:nvPr userDrawn="1"/>
        </p:nvGrpSpPr>
        <p:grpSpPr>
          <a:xfrm>
            <a:off x="6275978" y="1122763"/>
            <a:ext cx="2658325" cy="4801558"/>
            <a:chOff x="8234680" y="1684682"/>
            <a:chExt cx="3530600" cy="4232865"/>
          </a:xfrm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5587F2E8-2C3D-74EC-D714-1CF3D6584C09}"/>
                </a:ext>
              </a:extLst>
            </p:cNvPr>
            <p:cNvSpPr/>
            <p:nvPr userDrawn="1"/>
          </p:nvSpPr>
          <p:spPr>
            <a:xfrm>
              <a:off x="8234680" y="1684682"/>
              <a:ext cx="3530600" cy="4232865"/>
            </a:xfrm>
            <a:prstGeom prst="round2Diag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94241D5-5D1C-319D-F696-721BDC2F0AC3}"/>
                </a:ext>
              </a:extLst>
            </p:cNvPr>
            <p:cNvSpPr/>
            <p:nvPr userDrawn="1"/>
          </p:nvSpPr>
          <p:spPr>
            <a:xfrm>
              <a:off x="8234680" y="1684682"/>
              <a:ext cx="1005840" cy="763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69" y="363718"/>
            <a:ext cx="11503279" cy="47783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09BD8-2AB7-5188-75A8-2A5DCA10E710}"/>
              </a:ext>
            </a:extLst>
          </p:cNvPr>
          <p:cNvSpPr txBox="1"/>
          <p:nvPr userDrawn="1"/>
        </p:nvSpPr>
        <p:spPr>
          <a:xfrm>
            <a:off x="-1143000" y="141316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F914609-CB39-252F-36B9-0E35D9A004D4}"/>
              </a:ext>
            </a:extLst>
          </p:cNvPr>
          <p:cNvGrpSpPr/>
          <p:nvPr userDrawn="1"/>
        </p:nvGrpSpPr>
        <p:grpSpPr>
          <a:xfrm>
            <a:off x="9192824" y="1122763"/>
            <a:ext cx="2658325" cy="4801558"/>
            <a:chOff x="8234680" y="1684682"/>
            <a:chExt cx="3530600" cy="4232865"/>
          </a:xfrm>
          <a:solidFill>
            <a:schemeClr val="accent5"/>
          </a:solidFill>
        </p:grpSpPr>
        <p:sp>
          <p:nvSpPr>
            <p:cNvPr id="17" name="Round Diagonal Corner of Rectangle 16">
              <a:extLst>
                <a:ext uri="{FF2B5EF4-FFF2-40B4-BE49-F238E27FC236}">
                  <a16:creationId xmlns:a16="http://schemas.microsoft.com/office/drawing/2014/main" id="{523A99A8-A88E-3F07-E6D2-20DA65F4F917}"/>
                </a:ext>
              </a:extLst>
            </p:cNvPr>
            <p:cNvSpPr/>
            <p:nvPr userDrawn="1"/>
          </p:nvSpPr>
          <p:spPr>
            <a:xfrm>
              <a:off x="8234680" y="1684682"/>
              <a:ext cx="3530600" cy="4232865"/>
            </a:xfrm>
            <a:prstGeom prst="round2Diag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6189422-F2DD-A1B1-7F2F-B920D56E7C3A}"/>
                </a:ext>
              </a:extLst>
            </p:cNvPr>
            <p:cNvSpPr/>
            <p:nvPr userDrawn="1"/>
          </p:nvSpPr>
          <p:spPr>
            <a:xfrm>
              <a:off x="8234680" y="1684682"/>
              <a:ext cx="1005840" cy="76387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B984847-512E-D73C-A021-0B6A1B0AAD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647" y="1321904"/>
            <a:ext cx="2352284" cy="440656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CE07C15-A068-9471-A900-7B9D178012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04369" y="1328677"/>
            <a:ext cx="2352284" cy="440656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E26F1D2E-ABF8-C1DC-73E0-6608A17F32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28998" y="1324902"/>
            <a:ext cx="2352284" cy="440656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33789AE-4107-7FB2-C4EC-8438A008A5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45844" y="1328677"/>
            <a:ext cx="2352284" cy="440656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CB7432-B548-4A28-51B1-E827DC7A2162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7674002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09BD8-2AB7-5188-75A8-2A5DCA10E710}"/>
              </a:ext>
            </a:extLst>
          </p:cNvPr>
          <p:cNvSpPr txBox="1"/>
          <p:nvPr userDrawn="1"/>
        </p:nvSpPr>
        <p:spPr>
          <a:xfrm>
            <a:off x="-1143000" y="141316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8A29ADE-2A20-8EAC-5A11-02CF1866D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647" y="1413164"/>
            <a:ext cx="3211162" cy="431530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0504FB1-41D1-43B8-3166-37343CF7D3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0419" y="1413164"/>
            <a:ext cx="3211162" cy="431530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F14C07AC-DF55-7F91-73AE-F383F5DCAA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94399" y="1409389"/>
            <a:ext cx="3211162" cy="431530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D4ABDA-F052-2A93-419B-2337C1DBF7F2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  <p:sp>
        <p:nvSpPr>
          <p:cNvPr id="7" name="Slide Number Placeholder 22">
            <a:extLst>
              <a:ext uri="{FF2B5EF4-FFF2-40B4-BE49-F238E27FC236}">
                <a16:creationId xmlns:a16="http://schemas.microsoft.com/office/drawing/2014/main" id="{2AC81FDA-8E98-352E-7C24-54B810A4CC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1051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5AEA791-4212-B740-A801-B05FE665A7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1272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D317BC2-3CD5-4931-93AD-CC95F2C50D2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97481" y="6250152"/>
            <a:ext cx="9550800" cy="561048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97259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Intr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2408841"/>
            <a:ext cx="5895561" cy="1520974"/>
          </a:xfrm>
        </p:spPr>
        <p:txBody>
          <a:bodyPr anchor="t" anchorCtr="0">
            <a:noAutofit/>
          </a:bodyPr>
          <a:lstStyle>
            <a:lvl1pPr algn="l">
              <a:defRPr sz="5000" b="0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2" y="3965965"/>
            <a:ext cx="5895560" cy="675589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B8B030-2903-74B5-A1B7-6EF54BA9D6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609426" y="3130630"/>
            <a:ext cx="2125374" cy="5967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823D27-B6F1-9654-7679-9D569D40AAD7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42550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0" y="940453"/>
            <a:ext cx="11277599" cy="477837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Mark for HCA Book" panose="020B06060202010101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09BD8-2AB7-5188-75A8-2A5DCA10E710}"/>
              </a:ext>
            </a:extLst>
          </p:cNvPr>
          <p:cNvSpPr txBox="1"/>
          <p:nvPr userDrawn="1"/>
        </p:nvSpPr>
        <p:spPr>
          <a:xfrm>
            <a:off x="-1143000" y="141316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984E7E1-2AC9-FA23-AC72-80CAB0833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679713"/>
            <a:ext cx="11503025" cy="424401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B74F094-0ABF-2BF4-190E-01E0BAB29B51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08744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3E8CF37-3B3A-FE31-2A26-F6BE1655A02F}"/>
              </a:ext>
            </a:extLst>
          </p:cNvPr>
          <p:cNvGrpSpPr/>
          <p:nvPr userDrawn="1"/>
        </p:nvGrpSpPr>
        <p:grpSpPr>
          <a:xfrm>
            <a:off x="426720" y="1684682"/>
            <a:ext cx="2658325" cy="4232865"/>
            <a:chOff x="426720" y="1684682"/>
            <a:chExt cx="3530600" cy="4232865"/>
          </a:xfrm>
        </p:grpSpPr>
        <p:sp>
          <p:nvSpPr>
            <p:cNvPr id="5" name="Round Diagonal Corner of Rectangle 4">
              <a:extLst>
                <a:ext uri="{FF2B5EF4-FFF2-40B4-BE49-F238E27FC236}">
                  <a16:creationId xmlns:a16="http://schemas.microsoft.com/office/drawing/2014/main" id="{FC7A0D5A-7E56-BB2C-8A41-350BFB3ABF8A}"/>
                </a:ext>
              </a:extLst>
            </p:cNvPr>
            <p:cNvSpPr/>
            <p:nvPr userDrawn="1"/>
          </p:nvSpPr>
          <p:spPr>
            <a:xfrm>
              <a:off x="426720" y="1684682"/>
              <a:ext cx="3530600" cy="4232865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A44D4F-BD6E-08F3-97CF-7B7BE6F36D1E}"/>
                </a:ext>
              </a:extLst>
            </p:cNvPr>
            <p:cNvSpPr/>
            <p:nvPr userDrawn="1"/>
          </p:nvSpPr>
          <p:spPr>
            <a:xfrm>
              <a:off x="426720" y="1684682"/>
              <a:ext cx="1005840" cy="76387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C4BE471-CE62-3F24-357D-45177CC3B606}"/>
              </a:ext>
            </a:extLst>
          </p:cNvPr>
          <p:cNvGrpSpPr/>
          <p:nvPr userDrawn="1"/>
        </p:nvGrpSpPr>
        <p:grpSpPr>
          <a:xfrm>
            <a:off x="3343566" y="1691455"/>
            <a:ext cx="2658325" cy="4232865"/>
            <a:chOff x="4330700" y="1684682"/>
            <a:chExt cx="3530600" cy="4232865"/>
          </a:xfrm>
        </p:grpSpPr>
        <p:sp>
          <p:nvSpPr>
            <p:cNvPr id="6" name="Round Diagonal Corner of Rectangle 5">
              <a:extLst>
                <a:ext uri="{FF2B5EF4-FFF2-40B4-BE49-F238E27FC236}">
                  <a16:creationId xmlns:a16="http://schemas.microsoft.com/office/drawing/2014/main" id="{121690CA-00D0-96A0-CAD5-8A19A3317C04}"/>
                </a:ext>
              </a:extLst>
            </p:cNvPr>
            <p:cNvSpPr/>
            <p:nvPr userDrawn="1"/>
          </p:nvSpPr>
          <p:spPr>
            <a:xfrm>
              <a:off x="4330700" y="1684682"/>
              <a:ext cx="3530600" cy="4232865"/>
            </a:xfrm>
            <a:prstGeom prst="round2Diag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4824AB-3041-8153-87FB-92EC377692DE}"/>
                </a:ext>
              </a:extLst>
            </p:cNvPr>
            <p:cNvSpPr/>
            <p:nvPr userDrawn="1"/>
          </p:nvSpPr>
          <p:spPr>
            <a:xfrm>
              <a:off x="4336469" y="1684682"/>
              <a:ext cx="1005840" cy="763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22E9404-2D42-118D-7F9A-A810C5E6B5D7}"/>
              </a:ext>
            </a:extLst>
          </p:cNvPr>
          <p:cNvGrpSpPr/>
          <p:nvPr userDrawn="1"/>
        </p:nvGrpSpPr>
        <p:grpSpPr>
          <a:xfrm>
            <a:off x="6275978" y="1691455"/>
            <a:ext cx="2658325" cy="4232865"/>
            <a:chOff x="8234680" y="1684682"/>
            <a:chExt cx="3530600" cy="4232865"/>
          </a:xfrm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5587F2E8-2C3D-74EC-D714-1CF3D6584C09}"/>
                </a:ext>
              </a:extLst>
            </p:cNvPr>
            <p:cNvSpPr/>
            <p:nvPr userDrawn="1"/>
          </p:nvSpPr>
          <p:spPr>
            <a:xfrm>
              <a:off x="8234680" y="1684682"/>
              <a:ext cx="3530600" cy="4232865"/>
            </a:xfrm>
            <a:prstGeom prst="round2Diag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94241D5-5D1C-319D-F696-721BDC2F0AC3}"/>
                </a:ext>
              </a:extLst>
            </p:cNvPr>
            <p:cNvSpPr/>
            <p:nvPr userDrawn="1"/>
          </p:nvSpPr>
          <p:spPr>
            <a:xfrm>
              <a:off x="8234680" y="1684682"/>
              <a:ext cx="1005840" cy="763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69" y="363718"/>
            <a:ext cx="11503279" cy="47783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0" y="940453"/>
            <a:ext cx="11503278" cy="477837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09BD8-2AB7-5188-75A8-2A5DCA10E710}"/>
              </a:ext>
            </a:extLst>
          </p:cNvPr>
          <p:cNvSpPr txBox="1"/>
          <p:nvPr userDrawn="1"/>
        </p:nvSpPr>
        <p:spPr>
          <a:xfrm>
            <a:off x="-1143000" y="141316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F914609-CB39-252F-36B9-0E35D9A004D4}"/>
              </a:ext>
            </a:extLst>
          </p:cNvPr>
          <p:cNvGrpSpPr/>
          <p:nvPr userDrawn="1"/>
        </p:nvGrpSpPr>
        <p:grpSpPr>
          <a:xfrm>
            <a:off x="9192824" y="1691455"/>
            <a:ext cx="2658325" cy="4232865"/>
            <a:chOff x="8234680" y="1684682"/>
            <a:chExt cx="3530600" cy="4232865"/>
          </a:xfrm>
          <a:solidFill>
            <a:schemeClr val="accent5"/>
          </a:solidFill>
        </p:grpSpPr>
        <p:sp>
          <p:nvSpPr>
            <p:cNvPr id="17" name="Round Diagonal Corner of Rectangle 16">
              <a:extLst>
                <a:ext uri="{FF2B5EF4-FFF2-40B4-BE49-F238E27FC236}">
                  <a16:creationId xmlns:a16="http://schemas.microsoft.com/office/drawing/2014/main" id="{523A99A8-A88E-3F07-E6D2-20DA65F4F917}"/>
                </a:ext>
              </a:extLst>
            </p:cNvPr>
            <p:cNvSpPr/>
            <p:nvPr userDrawn="1"/>
          </p:nvSpPr>
          <p:spPr>
            <a:xfrm>
              <a:off x="8234680" y="1684682"/>
              <a:ext cx="3530600" cy="4232865"/>
            </a:xfrm>
            <a:prstGeom prst="round2Diag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6189422-F2DD-A1B1-7F2F-B920D56E7C3A}"/>
                </a:ext>
              </a:extLst>
            </p:cNvPr>
            <p:cNvSpPr/>
            <p:nvPr userDrawn="1"/>
          </p:nvSpPr>
          <p:spPr>
            <a:xfrm>
              <a:off x="8234680" y="1684682"/>
              <a:ext cx="1005840" cy="76387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B984847-512E-D73C-A021-0B6A1B0AAD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647" y="1881313"/>
            <a:ext cx="2352284" cy="3847152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CE07C15-A068-9471-A900-7B9D178012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04369" y="1888086"/>
            <a:ext cx="2352284" cy="3847152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E26F1D2E-ABF8-C1DC-73E0-6608A17F32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28998" y="1884311"/>
            <a:ext cx="2352284" cy="3847152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33789AE-4107-7FB2-C4EC-8438A008A5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45844" y="1888086"/>
            <a:ext cx="2352284" cy="3847152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9ACA029-1236-9EFF-5F19-0A26BCAE80AA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529479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84EDFB3-898C-D5ED-32D8-8968C04A8B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20386" y="363718"/>
            <a:ext cx="4830763" cy="5560005"/>
          </a:xfrm>
        </p:spPr>
        <p:txBody>
          <a:bodyPr/>
          <a:lstStyle>
            <a:lvl1pPr>
              <a:defRPr b="0" i="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7381" y="363718"/>
            <a:ext cx="6271593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09BD8-2AB7-5188-75A8-2A5DCA10E710}"/>
              </a:ext>
            </a:extLst>
          </p:cNvPr>
          <p:cNvSpPr txBox="1"/>
          <p:nvPr userDrawn="1"/>
        </p:nvSpPr>
        <p:spPr>
          <a:xfrm>
            <a:off x="-1143000" y="141316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7EDBE72-BAA5-7F33-569D-8B5BCF70B9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381" y="1152939"/>
            <a:ext cx="6271593" cy="477078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1C6F20-E1B0-D63F-0323-2CEFEA3C9E05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71257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Fern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CAA04-59AE-FF4F-9CAE-775889BC0DAA}"/>
              </a:ext>
            </a:extLst>
          </p:cNvPr>
          <p:cNvSpPr/>
          <p:nvPr userDrawn="1"/>
        </p:nvSpPr>
        <p:spPr>
          <a:xfrm>
            <a:off x="0" y="1"/>
            <a:ext cx="12192000" cy="17370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2E46B25-695C-5634-A854-6E9069433934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2"/>
          </a:solidFill>
        </p:grpSpPr>
        <p:sp>
          <p:nvSpPr>
            <p:cNvPr id="16" name="Round Diagonal Corner of Rectangle 15">
              <a:extLst>
                <a:ext uri="{FF2B5EF4-FFF2-40B4-BE49-F238E27FC236}">
                  <a16:creationId xmlns:a16="http://schemas.microsoft.com/office/drawing/2014/main" id="{77E44E3A-5D09-6DDD-0E75-397A8C5978C0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91A6095-75D0-2548-183E-71CAF2A71551}"/>
                </a:ext>
              </a:extLst>
            </p:cNvPr>
            <p:cNvSpPr/>
            <p:nvPr userDrawn="1"/>
          </p:nvSpPr>
          <p:spPr>
            <a:xfrm>
              <a:off x="-2" y="1"/>
              <a:ext cx="642553" cy="716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1" y="1206845"/>
            <a:ext cx="11277599" cy="395223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4EE2C12-7CD3-FBAC-24BB-0708FFF43F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9334878-D5D3-2707-F90B-E3292BDBC4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995659"/>
            <a:ext cx="11503025" cy="392806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154942-6521-5C91-D499-DB189C30C643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846167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0" y="940453"/>
            <a:ext cx="11277599" cy="477837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Mark for HCA Book" panose="020B06060202010101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09BD8-2AB7-5188-75A8-2A5DCA10E710}"/>
              </a:ext>
            </a:extLst>
          </p:cNvPr>
          <p:cNvSpPr txBox="1"/>
          <p:nvPr userDrawn="1"/>
        </p:nvSpPr>
        <p:spPr>
          <a:xfrm>
            <a:off x="-1143000" y="141316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984E7E1-2AC9-FA23-AC72-80CAB0833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679713"/>
            <a:ext cx="11503025" cy="424401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B74F094-0ABF-2BF4-190E-01E0BAB29B51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632189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09BD8-2AB7-5188-75A8-2A5DCA10E710}"/>
              </a:ext>
            </a:extLst>
          </p:cNvPr>
          <p:cNvSpPr txBox="1"/>
          <p:nvPr userDrawn="1"/>
        </p:nvSpPr>
        <p:spPr>
          <a:xfrm>
            <a:off x="-1143000" y="141316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4EB60008-9125-5272-296E-25432A87D3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132503"/>
            <a:ext cx="11503025" cy="479122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907BD3-E0FC-9582-4051-C212505E3D8E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13445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6B4C837-9F26-8259-2B37-4B92E4A8EF41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tx2"/>
          </a:solidFill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CB96E0E8-7B72-1F1E-474E-779B977A8EF9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476C21-655D-520C-28CC-6D688C986083}"/>
                </a:ext>
              </a:extLst>
            </p:cNvPr>
            <p:cNvSpPr/>
            <p:nvPr userDrawn="1"/>
          </p:nvSpPr>
          <p:spPr>
            <a:xfrm>
              <a:off x="-2" y="1"/>
              <a:ext cx="601364" cy="59312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8449885-A584-C28D-C49B-4A0E313415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362823"/>
            <a:ext cx="11503025" cy="456090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83E72-7917-B3F2-BBDD-9106096883CC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831373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6B4C837-9F26-8259-2B37-4B92E4A8EF41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CB96E0E8-7B72-1F1E-474E-779B977A8EF9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476C21-655D-520C-28CC-6D688C986083}"/>
                </a:ext>
              </a:extLst>
            </p:cNvPr>
            <p:cNvSpPr/>
            <p:nvPr userDrawn="1"/>
          </p:nvSpPr>
          <p:spPr>
            <a:xfrm>
              <a:off x="-2" y="1"/>
              <a:ext cx="667267" cy="68374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B148385-7959-2C65-FC78-842BC02A79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362823"/>
            <a:ext cx="11503025" cy="456090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B05117-AD4C-1452-AEC9-F7883C42D7A6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85472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F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92E46B25-695C-5634-A854-6E9069433934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2"/>
          </a:solidFill>
        </p:grpSpPr>
        <p:sp>
          <p:nvSpPr>
            <p:cNvPr id="16" name="Round Diagonal Corner of Rectangle 15">
              <a:extLst>
                <a:ext uri="{FF2B5EF4-FFF2-40B4-BE49-F238E27FC236}">
                  <a16:creationId xmlns:a16="http://schemas.microsoft.com/office/drawing/2014/main" id="{77E44E3A-5D09-6DDD-0E75-397A8C5978C0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91A6095-75D0-2548-183E-71CAF2A71551}"/>
                </a:ext>
              </a:extLst>
            </p:cNvPr>
            <p:cNvSpPr/>
            <p:nvPr userDrawn="1"/>
          </p:nvSpPr>
          <p:spPr>
            <a:xfrm>
              <a:off x="-2" y="1"/>
              <a:ext cx="584888" cy="60136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4EE2C12-7CD3-FBAC-24BB-0708FFF43F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C950B4D-1363-C194-D876-CFE8C2BF71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362823"/>
            <a:ext cx="11503025" cy="456090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6CA1DF-6CED-780C-884D-EFEF6EFD27C7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55343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Ceru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6160A6FE-7571-CC11-C860-97D77341A3F8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3"/>
          </a:solidFill>
        </p:grpSpPr>
        <p:sp>
          <p:nvSpPr>
            <p:cNvPr id="18" name="Round Diagonal Corner of Rectangle 17">
              <a:extLst>
                <a:ext uri="{FF2B5EF4-FFF2-40B4-BE49-F238E27FC236}">
                  <a16:creationId xmlns:a16="http://schemas.microsoft.com/office/drawing/2014/main" id="{96CF091F-F31A-4707-5C24-16CB70E4D4D6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AEB2342-6B38-1098-2E45-DA0A60E417E0}"/>
                </a:ext>
              </a:extLst>
            </p:cNvPr>
            <p:cNvSpPr/>
            <p:nvPr userDrawn="1"/>
          </p:nvSpPr>
          <p:spPr>
            <a:xfrm>
              <a:off x="-2" y="1"/>
              <a:ext cx="609602" cy="63431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D0B7BF6E-2A3F-DF41-E49D-9B9A90DD0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10F43C3-76E4-F898-A701-AAF73A2A01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362823"/>
            <a:ext cx="11503025" cy="456090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130A86-9732-1D24-05AA-B72246C38367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0498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ntro/Section Title - Cent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75D6E1-6D8E-F266-64C3-60BE7923C3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234456" y="5567902"/>
            <a:ext cx="1723087" cy="4837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27931" y="2667194"/>
            <a:ext cx="6508169" cy="1625363"/>
          </a:xfrm>
        </p:spPr>
        <p:txBody>
          <a:bodyPr anchor="t" anchorCtr="0">
            <a:noAutofit/>
          </a:bodyPr>
          <a:lstStyle>
            <a:lvl1pPr algn="ctr">
              <a:defRPr sz="5000" b="0" i="0"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92106" y="4359557"/>
            <a:ext cx="4779818" cy="463418"/>
          </a:xfrm>
        </p:spPr>
        <p:txBody>
          <a:bodyPr>
            <a:normAutofit/>
          </a:bodyPr>
          <a:lstStyle>
            <a:lvl1pPr marL="0" indent="0" algn="ctr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Mark for HCA Book" panose="020B06060202010101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EA0124-0303-C568-E708-0946383FFF9E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927147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Tanger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99EFB664-8BBE-7242-66E0-0E5C491FA143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4"/>
          </a:solidFill>
        </p:grpSpPr>
        <p:sp>
          <p:nvSpPr>
            <p:cNvPr id="18" name="Round Diagonal Corner of Rectangle 17">
              <a:extLst>
                <a:ext uri="{FF2B5EF4-FFF2-40B4-BE49-F238E27FC236}">
                  <a16:creationId xmlns:a16="http://schemas.microsoft.com/office/drawing/2014/main" id="{B5E46D33-4DB6-697B-EB61-65BA8ACEC45A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CC4FA4B-E20A-4FE2-3C93-C6F7C549FB4E}"/>
                </a:ext>
              </a:extLst>
            </p:cNvPr>
            <p:cNvSpPr/>
            <p:nvPr userDrawn="1"/>
          </p:nvSpPr>
          <p:spPr>
            <a:xfrm>
              <a:off x="-2" y="1"/>
              <a:ext cx="518986" cy="6178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22F5ADDC-BA1D-63B5-1EE2-BA03C5953F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44DA8F9-8769-A269-2968-77DE49B91C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362823"/>
            <a:ext cx="11503025" cy="456090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FD3349-F5AD-8611-98F5-8E82EB9AE29A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565023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827D695-0AB2-ABA5-938D-C58B74FDBB38}"/>
              </a:ext>
            </a:extLst>
          </p:cNvPr>
          <p:cNvGrpSpPr/>
          <p:nvPr userDrawn="1"/>
        </p:nvGrpSpPr>
        <p:grpSpPr>
          <a:xfrm>
            <a:off x="-2" y="0"/>
            <a:ext cx="12192002" cy="1071874"/>
            <a:chOff x="-2" y="1"/>
            <a:chExt cx="12192002" cy="1071874"/>
          </a:xfrm>
          <a:solidFill>
            <a:schemeClr val="accent5"/>
          </a:solidFill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B1341B19-ECEF-A3A8-B374-4AC6F72DB1B2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D49D1AB-F9F1-03EE-A7A3-DADBF78ADF33}"/>
                </a:ext>
              </a:extLst>
            </p:cNvPr>
            <p:cNvSpPr/>
            <p:nvPr userDrawn="1"/>
          </p:nvSpPr>
          <p:spPr>
            <a:xfrm>
              <a:off x="-2" y="1"/>
              <a:ext cx="626078" cy="63431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4B82FFD7-F5F4-C35B-E461-91F709E1E2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4378071-81E4-0B24-366F-98194DCF38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362823"/>
            <a:ext cx="11503025" cy="456090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BD2DFB-AA6B-B551-0A0C-31EC5ECFB57B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220354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Cerulea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7A78200-F056-B82E-AE62-8E3D4EBC51BE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6"/>
          </a:solidFill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7432046B-9623-A4B6-18A0-1FB1358B36E8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E70B15D-6292-22EC-5EE1-0A238DD3B2C3}"/>
                </a:ext>
              </a:extLst>
            </p:cNvPr>
            <p:cNvSpPr/>
            <p:nvPr userDrawn="1"/>
          </p:nvSpPr>
          <p:spPr>
            <a:xfrm>
              <a:off x="-2" y="1"/>
              <a:ext cx="708456" cy="6590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53F45083-950D-ADB2-AAF7-D5C32D2810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25E6E2A-E2F3-22A7-A25C-3EF6AA0184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362823"/>
            <a:ext cx="11503025" cy="4560900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A35569-27E6-4EEF-FAAA-75C498F315E9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391651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Navy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CAA04-59AE-FF4F-9CAE-775889BC0DAA}"/>
              </a:ext>
            </a:extLst>
          </p:cNvPr>
          <p:cNvSpPr/>
          <p:nvPr userDrawn="1"/>
        </p:nvSpPr>
        <p:spPr>
          <a:xfrm>
            <a:off x="0" y="79719"/>
            <a:ext cx="12192000" cy="1657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6B4C837-9F26-8259-2B37-4B92E4A8EF41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tx2"/>
          </a:solidFill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CB96E0E8-7B72-1F1E-474E-779B977A8EF9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476C21-655D-520C-28CC-6D688C986083}"/>
                </a:ext>
              </a:extLst>
            </p:cNvPr>
            <p:cNvSpPr/>
            <p:nvPr userDrawn="1"/>
          </p:nvSpPr>
          <p:spPr>
            <a:xfrm>
              <a:off x="-2" y="1"/>
              <a:ext cx="691980" cy="6755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1" y="1206845"/>
            <a:ext cx="11277599" cy="395223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tx2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B533EB4-AD1A-0B5E-DBB3-3A7822CAA6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995659"/>
            <a:ext cx="11503025" cy="392806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EC846-33B8-123F-634A-D8DCAE3FB1C3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026158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Teal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CAA04-59AE-FF4F-9CAE-775889BC0DAA}"/>
              </a:ext>
            </a:extLst>
          </p:cNvPr>
          <p:cNvSpPr/>
          <p:nvPr userDrawn="1"/>
        </p:nvSpPr>
        <p:spPr>
          <a:xfrm>
            <a:off x="0" y="79719"/>
            <a:ext cx="12192000" cy="1657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6B4C837-9F26-8259-2B37-4B92E4A8EF41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CB96E0E8-7B72-1F1E-474E-779B977A8EF9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476C21-655D-520C-28CC-6D688C986083}"/>
                </a:ext>
              </a:extLst>
            </p:cNvPr>
            <p:cNvSpPr/>
            <p:nvPr userDrawn="1"/>
          </p:nvSpPr>
          <p:spPr>
            <a:xfrm>
              <a:off x="-2" y="1"/>
              <a:ext cx="634316" cy="667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1" y="1206845"/>
            <a:ext cx="11277599" cy="395223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6C5CAFF-0245-1FAB-A81D-346852B293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995659"/>
            <a:ext cx="11503025" cy="392806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D44F48-55DF-A94E-54EE-4D000FAE5AA3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180740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Fern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CAA04-59AE-FF4F-9CAE-775889BC0DAA}"/>
              </a:ext>
            </a:extLst>
          </p:cNvPr>
          <p:cNvSpPr/>
          <p:nvPr userDrawn="1"/>
        </p:nvSpPr>
        <p:spPr>
          <a:xfrm>
            <a:off x="0" y="1"/>
            <a:ext cx="12192000" cy="17370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2E46B25-695C-5634-A854-6E9069433934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2"/>
          </a:solidFill>
        </p:grpSpPr>
        <p:sp>
          <p:nvSpPr>
            <p:cNvPr id="16" name="Round Diagonal Corner of Rectangle 15">
              <a:extLst>
                <a:ext uri="{FF2B5EF4-FFF2-40B4-BE49-F238E27FC236}">
                  <a16:creationId xmlns:a16="http://schemas.microsoft.com/office/drawing/2014/main" id="{77E44E3A-5D09-6DDD-0E75-397A8C5978C0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91A6095-75D0-2548-183E-71CAF2A71551}"/>
                </a:ext>
              </a:extLst>
            </p:cNvPr>
            <p:cNvSpPr/>
            <p:nvPr userDrawn="1"/>
          </p:nvSpPr>
          <p:spPr>
            <a:xfrm>
              <a:off x="-2" y="1"/>
              <a:ext cx="642553" cy="716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1" y="1206845"/>
            <a:ext cx="11277599" cy="395223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4EE2C12-7CD3-FBAC-24BB-0708FFF43F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9334878-D5D3-2707-F90B-E3292BDBC4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995659"/>
            <a:ext cx="11503025" cy="392806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154942-6521-5C91-D499-DB189C30C643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28589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Cerulean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CAA04-59AE-FF4F-9CAE-775889BC0DAA}"/>
              </a:ext>
            </a:extLst>
          </p:cNvPr>
          <p:cNvSpPr/>
          <p:nvPr userDrawn="1"/>
        </p:nvSpPr>
        <p:spPr>
          <a:xfrm>
            <a:off x="0" y="1"/>
            <a:ext cx="12192000" cy="17370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1" y="1206845"/>
            <a:ext cx="11277599" cy="395223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6160A6FE-7571-CC11-C860-97D77341A3F8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3"/>
          </a:solidFill>
        </p:grpSpPr>
        <p:sp>
          <p:nvSpPr>
            <p:cNvPr id="18" name="Round Diagonal Corner of Rectangle 17">
              <a:extLst>
                <a:ext uri="{FF2B5EF4-FFF2-40B4-BE49-F238E27FC236}">
                  <a16:creationId xmlns:a16="http://schemas.microsoft.com/office/drawing/2014/main" id="{96CF091F-F31A-4707-5C24-16CB70E4D4D6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AEB2342-6B38-1098-2E45-DA0A60E417E0}"/>
                </a:ext>
              </a:extLst>
            </p:cNvPr>
            <p:cNvSpPr/>
            <p:nvPr userDrawn="1"/>
          </p:nvSpPr>
          <p:spPr>
            <a:xfrm>
              <a:off x="-2" y="1"/>
              <a:ext cx="667267" cy="70021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D0B7BF6E-2A3F-DF41-E49D-9B9A90DD0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544C864C-0868-F73E-19E8-EB7F0A09E7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995659"/>
            <a:ext cx="11503025" cy="392806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8939F6-4FE3-B4C2-CBC2-DE845CF6C6A8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325155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Tangerin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CAA04-59AE-FF4F-9CAE-775889BC0DAA}"/>
              </a:ext>
            </a:extLst>
          </p:cNvPr>
          <p:cNvSpPr/>
          <p:nvPr userDrawn="1"/>
        </p:nvSpPr>
        <p:spPr>
          <a:xfrm>
            <a:off x="0" y="1"/>
            <a:ext cx="12192000" cy="17370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1" y="1206845"/>
            <a:ext cx="11277599" cy="395223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99EFB664-8BBE-7242-66E0-0E5C491FA143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4"/>
          </a:solidFill>
        </p:grpSpPr>
        <p:sp>
          <p:nvSpPr>
            <p:cNvPr id="18" name="Round Diagonal Corner of Rectangle 17">
              <a:extLst>
                <a:ext uri="{FF2B5EF4-FFF2-40B4-BE49-F238E27FC236}">
                  <a16:creationId xmlns:a16="http://schemas.microsoft.com/office/drawing/2014/main" id="{B5E46D33-4DB6-697B-EB61-65BA8ACEC45A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CC4FA4B-E20A-4FE2-3C93-C6F7C549FB4E}"/>
                </a:ext>
              </a:extLst>
            </p:cNvPr>
            <p:cNvSpPr/>
            <p:nvPr userDrawn="1"/>
          </p:nvSpPr>
          <p:spPr>
            <a:xfrm>
              <a:off x="-2" y="1"/>
              <a:ext cx="626078" cy="6919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22F5ADDC-BA1D-63B5-1EE2-BA03C5953F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36CACDD7-1F61-BDC3-BFA8-49B66D80A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995659"/>
            <a:ext cx="11503025" cy="392806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DDBEE7B-A9AE-695C-3CA4-5BA7BB3BDD60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68052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Oran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CAA04-59AE-FF4F-9CAE-775889BC0DAA}"/>
              </a:ext>
            </a:extLst>
          </p:cNvPr>
          <p:cNvSpPr/>
          <p:nvPr userDrawn="1"/>
        </p:nvSpPr>
        <p:spPr>
          <a:xfrm>
            <a:off x="0" y="1"/>
            <a:ext cx="12192000" cy="17370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1" y="1206845"/>
            <a:ext cx="11277599" cy="395223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827D695-0AB2-ABA5-938D-C58B74FDBB38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5"/>
          </a:solidFill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B1341B19-ECEF-A3A8-B374-4AC6F72DB1B2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D49D1AB-F9F1-03EE-A7A3-DADBF78ADF33}"/>
                </a:ext>
              </a:extLst>
            </p:cNvPr>
            <p:cNvSpPr/>
            <p:nvPr userDrawn="1"/>
          </p:nvSpPr>
          <p:spPr>
            <a:xfrm>
              <a:off x="-2" y="1"/>
              <a:ext cx="593126" cy="6178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4B82FFD7-F5F4-C35B-E461-91F709E1E2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9D4AAA9F-910E-8079-3786-66255EFE80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995659"/>
            <a:ext cx="11503025" cy="392806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281C6C-AB7E-61FB-7163-57C162D2DAB9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389225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Cerulean 2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CAA04-59AE-FF4F-9CAE-775889BC0DAA}"/>
              </a:ext>
            </a:extLst>
          </p:cNvPr>
          <p:cNvSpPr/>
          <p:nvPr userDrawn="1"/>
        </p:nvSpPr>
        <p:spPr>
          <a:xfrm>
            <a:off x="0" y="1"/>
            <a:ext cx="12192000" cy="17370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7A78200-F056-B82E-AE62-8E3D4EBC51BE}"/>
              </a:ext>
            </a:extLst>
          </p:cNvPr>
          <p:cNvGrpSpPr/>
          <p:nvPr userDrawn="1"/>
        </p:nvGrpSpPr>
        <p:grpSpPr>
          <a:xfrm>
            <a:off x="-2" y="1"/>
            <a:ext cx="12192002" cy="1071874"/>
            <a:chOff x="-2" y="1"/>
            <a:chExt cx="12192002" cy="1071874"/>
          </a:xfrm>
          <a:solidFill>
            <a:schemeClr val="accent6"/>
          </a:solidFill>
        </p:grpSpPr>
        <p:sp>
          <p:nvSpPr>
            <p:cNvPr id="8" name="Round Diagonal Corner of Rectangle 7">
              <a:extLst>
                <a:ext uri="{FF2B5EF4-FFF2-40B4-BE49-F238E27FC236}">
                  <a16:creationId xmlns:a16="http://schemas.microsoft.com/office/drawing/2014/main" id="{7432046B-9623-A4B6-18A0-1FB1358B36E8}"/>
                </a:ext>
              </a:extLst>
            </p:cNvPr>
            <p:cNvSpPr/>
            <p:nvPr userDrawn="1"/>
          </p:nvSpPr>
          <p:spPr>
            <a:xfrm>
              <a:off x="-1" y="1"/>
              <a:ext cx="12192001" cy="1071874"/>
            </a:xfrm>
            <a:prstGeom prst="round2Diag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E70B15D-6292-22EC-5EE1-0A238DD3B2C3}"/>
                </a:ext>
              </a:extLst>
            </p:cNvPr>
            <p:cNvSpPr/>
            <p:nvPr userDrawn="1"/>
          </p:nvSpPr>
          <p:spPr>
            <a:xfrm>
              <a:off x="-2" y="1"/>
              <a:ext cx="609602" cy="6837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F53A3F0-B508-E8D5-5A0F-9223FD40F41E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A899C92-4D9B-0FCF-8F03-5E608A53AA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871" y="1206845"/>
            <a:ext cx="11277599" cy="395223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A3F5340-DECC-7BE8-AEC6-F4ED6C50BD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2746461C-7C7B-B612-99F5-1D7A6F20C7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124" y="1995659"/>
            <a:ext cx="11503025" cy="3928064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034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ank Long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75D6E1-6D8E-F266-64C3-60BE7923C3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64872" y="6015163"/>
            <a:ext cx="1723087" cy="4837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041" y="2438594"/>
            <a:ext cx="11383917" cy="1625363"/>
          </a:xfrm>
        </p:spPr>
        <p:txBody>
          <a:bodyPr anchor="t" anchorCtr="0">
            <a:noAutofit/>
          </a:bodyPr>
          <a:lstStyle>
            <a:lvl1pPr algn="l">
              <a:defRPr sz="5000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041" y="4130957"/>
            <a:ext cx="11383917" cy="463418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AF744A-01EC-A898-363B-31D39C129D9C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562565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801350" y="6229350"/>
            <a:ext cx="857250" cy="361950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890587" y="6338887"/>
            <a:ext cx="0" cy="163830"/>
          </a:xfrm>
          <a:custGeom>
            <a:avLst/>
            <a:gdLst/>
            <a:ahLst/>
            <a:cxnLst/>
            <a:rect l="l" t="t" r="r" b="b"/>
            <a:pathLst>
              <a:path h="163829">
                <a:moveTo>
                  <a:pt x="0" y="0"/>
                </a:moveTo>
                <a:lnTo>
                  <a:pt x="0" y="163550"/>
                </a:lnTo>
              </a:path>
            </a:pathLst>
          </a:custGeom>
          <a:ln w="9525">
            <a:solidFill>
              <a:srgbClr val="5758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03173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77900" y="2056066"/>
            <a:ext cx="4476750" cy="37357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03173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936740" y="2033206"/>
            <a:ext cx="4681855" cy="34804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03173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888A8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t>CONFIDENTIAL</a:t>
            </a:r>
            <a:r>
              <a:rPr spc="5"/>
              <a:t> </a:t>
            </a:r>
            <a:r>
              <a:t>–</a:t>
            </a:r>
            <a:r>
              <a:rPr spc="-15"/>
              <a:t> </a:t>
            </a:r>
            <a:r>
              <a:rPr spc="-10"/>
              <a:t>Contains</a:t>
            </a:r>
            <a:r>
              <a:rPr spc="-50"/>
              <a:t> </a:t>
            </a:r>
            <a:r>
              <a:t>proprietary</a:t>
            </a:r>
            <a:r>
              <a:rPr spc="25"/>
              <a:t> </a:t>
            </a:r>
            <a:r>
              <a:t>information.</a:t>
            </a:r>
            <a:r>
              <a:rPr spc="-15"/>
              <a:t> </a:t>
            </a:r>
            <a:r>
              <a:rPr spc="-10"/>
              <a:t>Not</a:t>
            </a:r>
            <a:r>
              <a:rPr spc="-15"/>
              <a:t> </a:t>
            </a:r>
            <a:r>
              <a:t>intended</a:t>
            </a:r>
            <a:r>
              <a:rPr spc="-20"/>
              <a:t> </a:t>
            </a:r>
            <a:r>
              <a:t>for</a:t>
            </a:r>
            <a:r>
              <a:rPr spc="-55"/>
              <a:t> </a:t>
            </a:r>
            <a:r>
              <a:t>external</a:t>
            </a:r>
            <a:r>
              <a:rPr spc="-45"/>
              <a:t> </a:t>
            </a:r>
            <a:r>
              <a:rPr spc="-10"/>
              <a:t>distribution.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7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57585B"/>
                </a:solidFill>
                <a:latin typeface="Arial"/>
                <a:cs typeface="Arial"/>
              </a:defRPr>
            </a:lvl1pPr>
          </a:lstStyle>
          <a:p>
            <a:pPr marL="121920">
              <a:lnSpc>
                <a:spcPts val="1425"/>
              </a:lnSpc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27959889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A72F24-C2F4-A848-9526-6DDE3032300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500" y="1460500"/>
            <a:ext cx="5327904" cy="3977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defRPr lang="en-US" sz="14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defRPr lang="en-US" sz="14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defRPr lang="en-US" sz="14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100000"/>
              </a:lnSpc>
              <a:defRPr lang="en-US" sz="14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100000"/>
              </a:lnSpc>
              <a:defRPr lang="en-US"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0" lvl="0" indent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en-US"/>
              <a:t>Click to edit Master text styles</a:t>
            </a:r>
          </a:p>
          <a:p>
            <a:pPr marL="0" lvl="1" indent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en-US"/>
              <a:t>Second level</a:t>
            </a:r>
          </a:p>
          <a:p>
            <a:pPr marL="0" lvl="2" indent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en-US"/>
              <a:t>Third level</a:t>
            </a:r>
          </a:p>
          <a:p>
            <a:pPr marL="0" lvl="3" indent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en-US"/>
              <a:t>Fourth level</a:t>
            </a:r>
          </a:p>
          <a:p>
            <a:pPr marL="0" lvl="4" indent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</a:pPr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0B5A9DDA-5C61-C94F-9C1E-F412423AF3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96" y="62039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8BEEBAAA-29B5-4AF5-BC5F-7E580C29002D}" type="datetimeFigureOut">
              <a:rPr lang="en-US" smtClean="0"/>
              <a:pPr/>
              <a:t>10/27/2025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B9CE1BE-CD51-BD42-A659-2F084EB57D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48200" y="62039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2707C4E-5419-8141-80B3-E4B112655C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71926" y="62039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D362EF-E079-514F-814C-6085176CA7AD}"/>
              </a:ext>
            </a:extLst>
          </p:cNvPr>
          <p:cNvCxnSpPr>
            <a:cxnSpLocks/>
          </p:cNvCxnSpPr>
          <p:nvPr userDrawn="1"/>
        </p:nvCxnSpPr>
        <p:spPr>
          <a:xfrm>
            <a:off x="533400" y="1104900"/>
            <a:ext cx="11119104" cy="0"/>
          </a:xfrm>
          <a:prstGeom prst="line">
            <a:avLst/>
          </a:prstGeom>
          <a:ln w="25400">
            <a:solidFill>
              <a:srgbClr val="D247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2AC75DAD-32BC-CC41-8DF4-9E68DB31C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430609"/>
            <a:ext cx="9146972" cy="640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04021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ganization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9EDA014-6F41-4B1F-1A21-C455C1C242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53" y="5203326"/>
            <a:ext cx="3334808" cy="1499616"/>
          </a:xfrm>
        </p:spPr>
        <p:txBody>
          <a:bodyPr/>
          <a:lstStyle>
            <a:lvl1pPr>
              <a:defRPr spc="-1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D04C843A-0D3B-5292-7A5E-BAC03012E0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2344" y="813596"/>
            <a:ext cx="5122343" cy="478719"/>
          </a:xfrm>
          <a:solidFill>
            <a:schemeClr val="bg1">
              <a:lumMod val="95000"/>
            </a:schemeClr>
          </a:solidFill>
        </p:spPr>
        <p:txBody>
          <a:bodyPr lIns="0" tIns="4572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77" name="Text Placeholder 75">
            <a:extLst>
              <a:ext uri="{FF2B5EF4-FFF2-40B4-BE49-F238E27FC236}">
                <a16:creationId xmlns:a16="http://schemas.microsoft.com/office/drawing/2014/main" id="{77A040FE-E695-795B-7237-31D38995F8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1640" y="1022595"/>
            <a:ext cx="1518002" cy="230560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79" name="Text Placeholder 75">
            <a:extLst>
              <a:ext uri="{FF2B5EF4-FFF2-40B4-BE49-F238E27FC236}">
                <a16:creationId xmlns:a16="http://schemas.microsoft.com/office/drawing/2014/main" id="{5D0D8CBF-9449-C8E9-BF16-62041F0DD1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344" y="1540118"/>
            <a:ext cx="1886028" cy="461816"/>
          </a:xfrm>
          <a:solidFill>
            <a:schemeClr val="bg1">
              <a:lumMod val="95000"/>
            </a:schemeClr>
          </a:solidFill>
        </p:spPr>
        <p:txBody>
          <a:bodyPr lIns="0" tIns="4572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80" name="Text Placeholder 75">
            <a:extLst>
              <a:ext uri="{FF2B5EF4-FFF2-40B4-BE49-F238E27FC236}">
                <a16:creationId xmlns:a16="http://schemas.microsoft.com/office/drawing/2014/main" id="{C58AC76D-B9ED-7062-D3E3-13FD8271DF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96357" y="1761880"/>
            <a:ext cx="1518002" cy="240054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83" name="Text Placeholder 75">
            <a:extLst>
              <a:ext uri="{FF2B5EF4-FFF2-40B4-BE49-F238E27FC236}">
                <a16:creationId xmlns:a16="http://schemas.microsoft.com/office/drawing/2014/main" id="{3D0E13B6-82DA-E1F0-14D0-3E5B9523BB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36510" y="2780550"/>
            <a:ext cx="1203516" cy="932078"/>
          </a:xfrm>
          <a:solidFill>
            <a:schemeClr val="accent1"/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84" name="Text Placeholder 75">
            <a:extLst>
              <a:ext uri="{FF2B5EF4-FFF2-40B4-BE49-F238E27FC236}">
                <a16:creationId xmlns:a16="http://schemas.microsoft.com/office/drawing/2014/main" id="{27E27842-5DD1-15AB-83B5-64176B9D87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48408" y="3260736"/>
            <a:ext cx="968671" cy="371708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7" name="Text Placeholder 75">
            <a:extLst>
              <a:ext uri="{FF2B5EF4-FFF2-40B4-BE49-F238E27FC236}">
                <a16:creationId xmlns:a16="http://schemas.microsoft.com/office/drawing/2014/main" id="{2A5B6C63-E743-2FC0-536F-AED24702BE5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117265" y="2780550"/>
            <a:ext cx="1203516" cy="932078"/>
          </a:xfrm>
          <a:solidFill>
            <a:schemeClr val="accent1"/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87" name="Text Placeholder 75">
            <a:extLst>
              <a:ext uri="{FF2B5EF4-FFF2-40B4-BE49-F238E27FC236}">
                <a16:creationId xmlns:a16="http://schemas.microsoft.com/office/drawing/2014/main" id="{7F7030CB-EB0C-9B09-090E-A8356E3781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32328" y="3260736"/>
            <a:ext cx="968671" cy="371708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8" name="Text Placeholder 75">
            <a:extLst>
              <a:ext uri="{FF2B5EF4-FFF2-40B4-BE49-F238E27FC236}">
                <a16:creationId xmlns:a16="http://schemas.microsoft.com/office/drawing/2014/main" id="{D072F97D-9D13-51B0-BF1A-7EB564B80C9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398020" y="2780550"/>
            <a:ext cx="1203516" cy="932078"/>
          </a:xfrm>
          <a:solidFill>
            <a:schemeClr val="accent1"/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92" name="Text Placeholder 75">
            <a:extLst>
              <a:ext uri="{FF2B5EF4-FFF2-40B4-BE49-F238E27FC236}">
                <a16:creationId xmlns:a16="http://schemas.microsoft.com/office/drawing/2014/main" id="{083F55B6-0BBA-3B17-C85B-DE9931C6E92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14305" y="3260736"/>
            <a:ext cx="968671" cy="371708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9" name="Text Placeholder 75">
            <a:extLst>
              <a:ext uri="{FF2B5EF4-FFF2-40B4-BE49-F238E27FC236}">
                <a16:creationId xmlns:a16="http://schemas.microsoft.com/office/drawing/2014/main" id="{FFE950DC-49CF-CEB6-D1D5-0D1B59774DF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78775" y="2780550"/>
            <a:ext cx="1203516" cy="932078"/>
          </a:xfrm>
          <a:solidFill>
            <a:schemeClr val="accent3"/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95" name="Text Placeholder 75">
            <a:extLst>
              <a:ext uri="{FF2B5EF4-FFF2-40B4-BE49-F238E27FC236}">
                <a16:creationId xmlns:a16="http://schemas.microsoft.com/office/drawing/2014/main" id="{F3F35494-F288-2EC4-C869-4269996F6AA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95240" y="3260736"/>
            <a:ext cx="968671" cy="371708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0" name="Text Placeholder 75">
            <a:extLst>
              <a:ext uri="{FF2B5EF4-FFF2-40B4-BE49-F238E27FC236}">
                <a16:creationId xmlns:a16="http://schemas.microsoft.com/office/drawing/2014/main" id="{7D9B64EE-0F30-33E9-2335-24240E9D81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959530" y="2780550"/>
            <a:ext cx="1203516" cy="932078"/>
          </a:xfrm>
          <a:solidFill>
            <a:schemeClr val="accent3"/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98" name="Text Placeholder 75">
            <a:extLst>
              <a:ext uri="{FF2B5EF4-FFF2-40B4-BE49-F238E27FC236}">
                <a16:creationId xmlns:a16="http://schemas.microsoft.com/office/drawing/2014/main" id="{4460FB63-57AF-2455-308F-47523B46CD9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83290" y="3260736"/>
            <a:ext cx="968671" cy="371708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1" name="Text Placeholder 75">
            <a:extLst>
              <a:ext uri="{FF2B5EF4-FFF2-40B4-BE49-F238E27FC236}">
                <a16:creationId xmlns:a16="http://schemas.microsoft.com/office/drawing/2014/main" id="{8CB2A02B-5BCF-15F1-CD50-CDA1ABF5E00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240287" y="2780550"/>
            <a:ext cx="1203516" cy="932078"/>
          </a:xfrm>
          <a:solidFill>
            <a:schemeClr val="accent5"/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01" name="Text Placeholder 75">
            <a:extLst>
              <a:ext uri="{FF2B5EF4-FFF2-40B4-BE49-F238E27FC236}">
                <a16:creationId xmlns:a16="http://schemas.microsoft.com/office/drawing/2014/main" id="{9F90F308-B686-9D9A-4663-AF5E744F768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352897" y="3260736"/>
            <a:ext cx="968671" cy="371708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9" name="Text Placeholder 75">
            <a:extLst>
              <a:ext uri="{FF2B5EF4-FFF2-40B4-BE49-F238E27FC236}">
                <a16:creationId xmlns:a16="http://schemas.microsoft.com/office/drawing/2014/main" id="{EDA4D0DF-6ADC-9C65-B4FE-9ED9941E39D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836510" y="3801057"/>
            <a:ext cx="1203516" cy="932078"/>
          </a:xfrm>
          <a:solidFill>
            <a:schemeClr val="bg1">
              <a:lumMod val="95000"/>
            </a:schemeClr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30" name="Text Placeholder 75">
            <a:extLst>
              <a:ext uri="{FF2B5EF4-FFF2-40B4-BE49-F238E27FC236}">
                <a16:creationId xmlns:a16="http://schemas.microsoft.com/office/drawing/2014/main" id="{54B649FE-E5EA-5BE5-D874-B19A22A6B86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948408" y="4281242"/>
            <a:ext cx="968671" cy="39052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8" name="Text Placeholder 75">
            <a:extLst>
              <a:ext uri="{FF2B5EF4-FFF2-40B4-BE49-F238E27FC236}">
                <a16:creationId xmlns:a16="http://schemas.microsoft.com/office/drawing/2014/main" id="{E3ED1206-42F8-7BE7-A0DF-7A77D873C4C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17265" y="3801057"/>
            <a:ext cx="1203516" cy="932078"/>
          </a:xfrm>
          <a:solidFill>
            <a:schemeClr val="bg1">
              <a:lumMod val="95000"/>
            </a:schemeClr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31" name="Text Placeholder 75">
            <a:extLst>
              <a:ext uri="{FF2B5EF4-FFF2-40B4-BE49-F238E27FC236}">
                <a16:creationId xmlns:a16="http://schemas.microsoft.com/office/drawing/2014/main" id="{8EE94704-A776-2C31-EBC1-4E905AF7A2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232328" y="4281242"/>
            <a:ext cx="968671" cy="39052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7" name="Text Placeholder 75">
            <a:extLst>
              <a:ext uri="{FF2B5EF4-FFF2-40B4-BE49-F238E27FC236}">
                <a16:creationId xmlns:a16="http://schemas.microsoft.com/office/drawing/2014/main" id="{1747C7B6-08D3-C80A-4DA7-FFF61F30F90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98020" y="3801057"/>
            <a:ext cx="1203516" cy="932078"/>
          </a:xfrm>
          <a:solidFill>
            <a:schemeClr val="bg1">
              <a:lumMod val="95000"/>
            </a:schemeClr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32" name="Text Placeholder 75">
            <a:extLst>
              <a:ext uri="{FF2B5EF4-FFF2-40B4-BE49-F238E27FC236}">
                <a16:creationId xmlns:a16="http://schemas.microsoft.com/office/drawing/2014/main" id="{BB76F855-82BD-D038-34B2-DE51CD92300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514305" y="4281242"/>
            <a:ext cx="968671" cy="39052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6" name="Text Placeholder 75">
            <a:extLst>
              <a:ext uri="{FF2B5EF4-FFF2-40B4-BE49-F238E27FC236}">
                <a16:creationId xmlns:a16="http://schemas.microsoft.com/office/drawing/2014/main" id="{1C6335A1-8BD5-DC54-94C4-8F0CEF2B752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78775" y="3801057"/>
            <a:ext cx="1203516" cy="932078"/>
          </a:xfrm>
          <a:solidFill>
            <a:schemeClr val="bg1">
              <a:lumMod val="95000"/>
            </a:schemeClr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33" name="Text Placeholder 75">
            <a:extLst>
              <a:ext uri="{FF2B5EF4-FFF2-40B4-BE49-F238E27FC236}">
                <a16:creationId xmlns:a16="http://schemas.microsoft.com/office/drawing/2014/main" id="{D0CBA7B2-0907-0A18-B0AA-72D0F8DC2D0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795240" y="4281242"/>
            <a:ext cx="968671" cy="39052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5" name="Text Placeholder 75">
            <a:extLst>
              <a:ext uri="{FF2B5EF4-FFF2-40B4-BE49-F238E27FC236}">
                <a16:creationId xmlns:a16="http://schemas.microsoft.com/office/drawing/2014/main" id="{94B2705B-E6E3-0E1C-4983-E2DD37C2E36A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959530" y="3801057"/>
            <a:ext cx="1203516" cy="932078"/>
          </a:xfrm>
          <a:solidFill>
            <a:schemeClr val="bg1">
              <a:lumMod val="95000"/>
            </a:schemeClr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34" name="Text Placeholder 75">
            <a:extLst>
              <a:ext uri="{FF2B5EF4-FFF2-40B4-BE49-F238E27FC236}">
                <a16:creationId xmlns:a16="http://schemas.microsoft.com/office/drawing/2014/main" id="{6E9CEDFA-D5B1-C6EB-D1D6-028A762E6EF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083290" y="4281242"/>
            <a:ext cx="968671" cy="39052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4" name="Text Placeholder 75">
            <a:extLst>
              <a:ext uri="{FF2B5EF4-FFF2-40B4-BE49-F238E27FC236}">
                <a16:creationId xmlns:a16="http://schemas.microsoft.com/office/drawing/2014/main" id="{86D1DFDE-E9E4-DCD0-0602-F55129AE2D7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240287" y="3801057"/>
            <a:ext cx="1203516" cy="932078"/>
          </a:xfrm>
          <a:solidFill>
            <a:schemeClr val="bg1">
              <a:lumMod val="95000"/>
            </a:schemeClr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35" name="Text Placeholder 75">
            <a:extLst>
              <a:ext uri="{FF2B5EF4-FFF2-40B4-BE49-F238E27FC236}">
                <a16:creationId xmlns:a16="http://schemas.microsoft.com/office/drawing/2014/main" id="{999D3DA5-BE79-94E3-AE49-08ED839F78A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0352897" y="4281242"/>
            <a:ext cx="968671" cy="39052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7" name="Text Placeholder 75">
            <a:extLst>
              <a:ext uri="{FF2B5EF4-FFF2-40B4-BE49-F238E27FC236}">
                <a16:creationId xmlns:a16="http://schemas.microsoft.com/office/drawing/2014/main" id="{AEF544B0-96F5-DABA-6C01-3DFBFD6B6084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112344" y="4817057"/>
            <a:ext cx="1203516" cy="932078"/>
          </a:xfrm>
          <a:solidFill>
            <a:schemeClr val="bg1">
              <a:lumMod val="95000"/>
            </a:schemeClr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38" name="Text Placeholder 75">
            <a:extLst>
              <a:ext uri="{FF2B5EF4-FFF2-40B4-BE49-F238E27FC236}">
                <a16:creationId xmlns:a16="http://schemas.microsoft.com/office/drawing/2014/main" id="{26988D8C-9F63-B695-760D-71771A15955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42488" y="5297242"/>
            <a:ext cx="968671" cy="39052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6" name="Text Placeholder 75">
            <a:extLst>
              <a:ext uri="{FF2B5EF4-FFF2-40B4-BE49-F238E27FC236}">
                <a16:creationId xmlns:a16="http://schemas.microsoft.com/office/drawing/2014/main" id="{A5A86C41-8E7B-8D4E-B4B1-021E17E8968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678775" y="4817057"/>
            <a:ext cx="1203516" cy="932078"/>
          </a:xfrm>
          <a:solidFill>
            <a:schemeClr val="bg1">
              <a:lumMod val="95000"/>
            </a:schemeClr>
          </a:solidFill>
        </p:spPr>
        <p:txBody>
          <a:bodyPr lIns="91440" tIns="146304" rIns="91440" bIns="0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1" baseline="0">
                <a:solidFill>
                  <a:schemeClr val="tx1"/>
                </a:solidFill>
                <a:latin typeface="+mj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39" name="Text Placeholder 75">
            <a:extLst>
              <a:ext uri="{FF2B5EF4-FFF2-40B4-BE49-F238E27FC236}">
                <a16:creationId xmlns:a16="http://schemas.microsoft.com/office/drawing/2014/main" id="{7CCA22E3-9EEB-5389-FEF2-7DF99D06513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05400" y="5297242"/>
            <a:ext cx="968671" cy="39052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300" b="0" baseline="0">
                <a:solidFill>
                  <a:schemeClr val="tx1"/>
                </a:solidFill>
                <a:latin typeface="+mn-lt"/>
              </a:defRPr>
            </a:lvl1pPr>
            <a:lvl2pPr marL="128016" indent="0" algn="ctr">
              <a:buNone/>
              <a:defRPr sz="1300"/>
            </a:lvl2pPr>
            <a:lvl3pPr marL="310896" indent="0" algn="ctr">
              <a:buNone/>
              <a:defRPr sz="1300"/>
            </a:lvl3pPr>
            <a:lvl4pPr marL="457200" indent="0" algn="ctr">
              <a:buNone/>
              <a:defRPr sz="1300"/>
            </a:lvl4pPr>
            <a:lvl5pPr marL="640080" indent="0" algn="ctr">
              <a:buNone/>
              <a:defRPr sz="1300"/>
            </a:lvl5pPr>
          </a:lstStyle>
          <a:p>
            <a:pPr lvl="0"/>
            <a:r>
              <a:rPr lang="en-US"/>
              <a:t>Add text he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DDE5B96-F011-22D6-E527-0FDD718D6B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67337" y="5382565"/>
            <a:ext cx="0" cy="99909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8B5193DC-4E8F-4364-1D19-81A2795C238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8873729" y="6222340"/>
            <a:ext cx="155448" cy="155448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b="0" cap="all" spc="80" baseline="0">
                <a:noFill/>
                <a:latin typeface="+mn-lt"/>
              </a:defRPr>
            </a:lvl1pPr>
            <a:lvl2pPr marL="342900" indent="0">
              <a:buNone/>
              <a:defRPr sz="1000" b="1">
                <a:latin typeface="+mn-lt"/>
              </a:defRPr>
            </a:lvl2pPr>
            <a:lvl3pPr marL="685800" indent="0">
              <a:buNone/>
              <a:defRPr sz="1000" b="1">
                <a:latin typeface="+mn-lt"/>
              </a:defRPr>
            </a:lvl3pPr>
            <a:lvl4pPr marL="1028700" indent="0">
              <a:buNone/>
              <a:defRPr sz="1000" b="1">
                <a:latin typeface="+mn-lt"/>
              </a:defRPr>
            </a:lvl4pPr>
            <a:lvl5pPr marL="1371600" indent="0">
              <a:buNone/>
              <a:defRPr sz="1000" b="1">
                <a:latin typeface="+mn-lt"/>
              </a:defRPr>
            </a:lvl5pPr>
          </a:lstStyle>
          <a:p>
            <a:pPr lvl="0"/>
            <a:r>
              <a:rPr lang="en-US"/>
              <a:t>X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E69998A8-0864-9CA3-0242-1380F2F6D6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70368" y="6196637"/>
            <a:ext cx="563562" cy="179387"/>
          </a:xfrm>
        </p:spPr>
        <p:txBody>
          <a:bodyPr>
            <a:noAutofit/>
          </a:bodyPr>
          <a:lstStyle>
            <a:lvl1pPr marL="0" indent="0">
              <a:buNone/>
              <a:defRPr sz="900" b="0">
                <a:solidFill>
                  <a:schemeClr val="tx1"/>
                </a:solidFill>
              </a:defRPr>
            </a:lvl1pPr>
            <a:lvl2pPr marL="128016" indent="0">
              <a:buNone/>
              <a:defRPr sz="1000"/>
            </a:lvl2pPr>
            <a:lvl3pPr marL="310896" indent="0">
              <a:buNone/>
              <a:defRPr sz="1000"/>
            </a:lvl3pPr>
            <a:lvl4pPr marL="457200" indent="0">
              <a:buNone/>
              <a:defRPr sz="1000"/>
            </a:lvl4pPr>
            <a:lvl5pPr marL="640080" indent="0">
              <a:buNone/>
              <a:defRPr sz="1000"/>
            </a:lvl5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F49A2DC4-3DC0-8708-D32E-79CD012CAA6D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9723701" y="6222340"/>
            <a:ext cx="155448" cy="155448"/>
          </a:xfrm>
          <a:prstGeom prst="rect">
            <a:avLst/>
          </a:prstGeom>
          <a:solidFill>
            <a:schemeClr val="accent3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b="0" cap="all" spc="80" baseline="0">
                <a:noFill/>
                <a:latin typeface="+mn-lt"/>
              </a:defRPr>
            </a:lvl1pPr>
            <a:lvl2pPr marL="342900" indent="0">
              <a:buNone/>
              <a:defRPr sz="1000" b="1">
                <a:latin typeface="+mn-lt"/>
              </a:defRPr>
            </a:lvl2pPr>
            <a:lvl3pPr marL="685800" indent="0">
              <a:buNone/>
              <a:defRPr sz="1000" b="1">
                <a:latin typeface="+mn-lt"/>
              </a:defRPr>
            </a:lvl3pPr>
            <a:lvl4pPr marL="1028700" indent="0">
              <a:buNone/>
              <a:defRPr sz="1000" b="1">
                <a:latin typeface="+mn-lt"/>
              </a:defRPr>
            </a:lvl4pPr>
            <a:lvl5pPr marL="1371600" indent="0">
              <a:buNone/>
              <a:defRPr sz="1000" b="1">
                <a:latin typeface="+mn-lt"/>
              </a:defRPr>
            </a:lvl5pPr>
          </a:lstStyle>
          <a:p>
            <a:pPr lvl="0"/>
            <a:r>
              <a:rPr lang="en-US"/>
              <a:t>X</a:t>
            </a:r>
          </a:p>
        </p:txBody>
      </p:sp>
      <p:sp>
        <p:nvSpPr>
          <p:cNvPr id="69" name="Text Placeholder 67">
            <a:extLst>
              <a:ext uri="{FF2B5EF4-FFF2-40B4-BE49-F238E27FC236}">
                <a16:creationId xmlns:a16="http://schemas.microsoft.com/office/drawing/2014/main" id="{70C485BD-4A34-35CC-470B-BE4EF17651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27200" y="6196637"/>
            <a:ext cx="563562" cy="179387"/>
          </a:xfrm>
        </p:spPr>
        <p:txBody>
          <a:bodyPr>
            <a:noAutofit/>
          </a:bodyPr>
          <a:lstStyle>
            <a:lvl1pPr marL="0" indent="0">
              <a:buNone/>
              <a:defRPr sz="900" b="0">
                <a:solidFill>
                  <a:schemeClr val="tx1"/>
                </a:solidFill>
              </a:defRPr>
            </a:lvl1pPr>
            <a:lvl2pPr marL="128016" indent="0">
              <a:buNone/>
              <a:defRPr sz="1000"/>
            </a:lvl2pPr>
            <a:lvl3pPr marL="310896" indent="0">
              <a:buNone/>
              <a:defRPr sz="1000"/>
            </a:lvl3pPr>
            <a:lvl4pPr marL="457200" indent="0">
              <a:buNone/>
              <a:defRPr sz="1000"/>
            </a:lvl4pPr>
            <a:lvl5pPr marL="640080" indent="0">
              <a:buNone/>
              <a:defRPr sz="1000"/>
            </a:lvl5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E2CE8FC8-4A08-6EEC-DD1A-74D4E6E53551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0527953" y="6222340"/>
            <a:ext cx="155448" cy="155448"/>
          </a:xfrm>
          <a:prstGeom prst="rect">
            <a:avLst/>
          </a:prstGeom>
          <a:solidFill>
            <a:schemeClr val="accent5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b="0" cap="all" spc="80" baseline="0">
                <a:noFill/>
                <a:latin typeface="+mn-lt"/>
              </a:defRPr>
            </a:lvl1pPr>
            <a:lvl2pPr marL="342900" indent="0">
              <a:buNone/>
              <a:defRPr sz="1000" b="1">
                <a:latin typeface="+mn-lt"/>
              </a:defRPr>
            </a:lvl2pPr>
            <a:lvl3pPr marL="685800" indent="0">
              <a:buNone/>
              <a:defRPr sz="1000" b="1">
                <a:latin typeface="+mn-lt"/>
              </a:defRPr>
            </a:lvl3pPr>
            <a:lvl4pPr marL="1028700" indent="0">
              <a:buNone/>
              <a:defRPr sz="1000" b="1">
                <a:latin typeface="+mn-lt"/>
              </a:defRPr>
            </a:lvl4pPr>
            <a:lvl5pPr marL="1371600" indent="0">
              <a:buNone/>
              <a:defRPr sz="1000" b="1">
                <a:latin typeface="+mn-lt"/>
              </a:defRPr>
            </a:lvl5pPr>
          </a:lstStyle>
          <a:p>
            <a:pPr lvl="0"/>
            <a:r>
              <a:rPr lang="en-US"/>
              <a:t>X</a:t>
            </a:r>
          </a:p>
        </p:txBody>
      </p:sp>
      <p:sp>
        <p:nvSpPr>
          <p:cNvPr id="70" name="Text Placeholder 67">
            <a:extLst>
              <a:ext uri="{FF2B5EF4-FFF2-40B4-BE49-F238E27FC236}">
                <a16:creationId xmlns:a16="http://schemas.microsoft.com/office/drawing/2014/main" id="{701DE1BD-560E-B0AE-2F49-6508691E64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35442" y="6196637"/>
            <a:ext cx="828888" cy="179387"/>
          </a:xfrm>
        </p:spPr>
        <p:txBody>
          <a:bodyPr>
            <a:noAutofit/>
          </a:bodyPr>
          <a:lstStyle>
            <a:lvl1pPr marL="0" indent="0">
              <a:buNone/>
              <a:defRPr sz="900" b="0">
                <a:solidFill>
                  <a:schemeClr val="tx1"/>
                </a:solidFill>
              </a:defRPr>
            </a:lvl1pPr>
            <a:lvl2pPr marL="128016" indent="0">
              <a:buNone/>
              <a:defRPr sz="1000"/>
            </a:lvl2pPr>
            <a:lvl3pPr marL="310896" indent="0">
              <a:buNone/>
              <a:defRPr sz="1000"/>
            </a:lvl3pPr>
            <a:lvl4pPr marL="457200" indent="0">
              <a:buNone/>
              <a:defRPr sz="1000"/>
            </a:lvl4pPr>
            <a:lvl5pPr marL="640080" indent="0">
              <a:buNone/>
              <a:defRPr sz="1000"/>
            </a:lvl5pPr>
          </a:lstStyle>
          <a:p>
            <a:pPr lvl="0"/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1767355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D317BC2-3CD5-4931-93AD-CC95F2C50D2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97481" y="6250152"/>
            <a:ext cx="9550800" cy="561048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88426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ank Long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75D6E1-6D8E-F266-64C3-60BE7923C3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64872" y="6015163"/>
            <a:ext cx="1723087" cy="4837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041" y="2438594"/>
            <a:ext cx="11383917" cy="1625363"/>
          </a:xfrm>
        </p:spPr>
        <p:txBody>
          <a:bodyPr anchor="t" anchorCtr="0">
            <a:noAutofit/>
          </a:bodyPr>
          <a:lstStyle>
            <a:lvl1pPr algn="l">
              <a:defRPr sz="5000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041" y="4130957"/>
            <a:ext cx="11383917" cy="463418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AF744A-01EC-A898-363B-31D39C129D9C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555666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Blank Long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75D6E1-6D8E-F266-64C3-60BE7923C3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064872" y="6015163"/>
            <a:ext cx="1723087" cy="4837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041" y="2438594"/>
            <a:ext cx="11383917" cy="1625363"/>
          </a:xfrm>
        </p:spPr>
        <p:txBody>
          <a:bodyPr anchor="t" anchorCtr="0">
            <a:noAutofit/>
          </a:bodyPr>
          <a:lstStyle>
            <a:lvl1pPr algn="l">
              <a:defRPr sz="5000" b="0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041" y="4130957"/>
            <a:ext cx="11383917" cy="463418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AF744A-01EC-A898-363B-31D39C129D9C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175805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8B354-8765-1E45-BA8D-C0A16603DF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6956" y="461120"/>
            <a:ext cx="11140108" cy="477837"/>
          </a:xfrm>
        </p:spPr>
        <p:txBody>
          <a:bodyPr anchor="b">
            <a:noAutofit/>
          </a:bodyPr>
          <a:lstStyle>
            <a:lvl1pPr algn="l">
              <a:defRPr sz="3000" b="1" spc="300">
                <a:solidFill>
                  <a:schemeClr val="tx2"/>
                </a:solidFill>
              </a:defRPr>
            </a:lvl1pPr>
          </a:lstStyle>
          <a:p>
            <a:r>
              <a:rPr lang="en-GB"/>
              <a:t>THIS IS A SLIDE TIT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2D144F-900D-CB01-134E-1ED71A9831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955" y="964833"/>
            <a:ext cx="11140108" cy="295633"/>
          </a:xfrm>
        </p:spPr>
        <p:txBody>
          <a:bodyPr>
            <a:normAutofit/>
          </a:bodyPr>
          <a:lstStyle>
            <a:lvl1pPr marL="0" indent="0" algn="l">
              <a:buNone/>
              <a:defRPr sz="1800" b="0" spc="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THIS IS A SLIDE SUBTITLE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2905FF-9224-C920-694B-565FC8078F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31729" y="6228958"/>
            <a:ext cx="2705335" cy="22871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F2D33D1-E8DB-0835-52BB-530D4B8EC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6954" y="1490870"/>
            <a:ext cx="11140107" cy="44022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7341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7870" y="363718"/>
            <a:ext cx="11277600" cy="47783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92FAA5-85C0-8281-5163-55D1C30D36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1609" y="6186898"/>
            <a:ext cx="1359540" cy="3817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09BD8-2AB7-5188-75A8-2A5DCA10E710}"/>
              </a:ext>
            </a:extLst>
          </p:cNvPr>
          <p:cNvSpPr txBox="1"/>
          <p:nvPr userDrawn="1"/>
        </p:nvSpPr>
        <p:spPr>
          <a:xfrm>
            <a:off x="-1143000" y="141316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8A29ADE-2A20-8EAC-5A11-02CF1866D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647" y="1413164"/>
            <a:ext cx="3211162" cy="431530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0504FB1-41D1-43B8-3166-37343CF7D3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0419" y="1413164"/>
            <a:ext cx="3211162" cy="431530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F14C07AC-DF55-7F91-73AE-F383F5DCAA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94399" y="1409389"/>
            <a:ext cx="3211162" cy="4315301"/>
          </a:xfrm>
        </p:spPr>
        <p:txBody>
          <a:bodyPr>
            <a:normAutofit/>
          </a:bodyPr>
          <a:lstStyle>
            <a:lvl1pPr marL="0" indent="0">
              <a:buNone/>
              <a:defRPr sz="1600" b="0" i="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D4ABDA-F052-2A93-419B-2337C1DBF7F2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  <p:sp>
        <p:nvSpPr>
          <p:cNvPr id="7" name="Slide Number Placeholder 22">
            <a:extLst>
              <a:ext uri="{FF2B5EF4-FFF2-40B4-BE49-F238E27FC236}">
                <a16:creationId xmlns:a16="http://schemas.microsoft.com/office/drawing/2014/main" id="{2AC81FDA-8E98-352E-7C24-54B810A4CC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1051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5AEA791-4212-B740-A801-B05FE665A7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6659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ark for HCA" panose="020B0606020201010104" pitchFamily="34" charset="0"/>
                <a:cs typeface="Mark for HCA" panose="020B0606020201010104" pitchFamily="34" charset="0"/>
                <a:sym typeface="Mark for HCA" panose="020B06060202010101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ark for HCA" panose="020B0606020201010104" pitchFamily="34" charset="0"/>
                <a:cs typeface="Mark for HCA" panose="020B0606020201010104" pitchFamily="34" charset="0"/>
                <a:sym typeface="Mark for HCA" panose="020B0606020201010104" pitchFamily="34" charset="0"/>
              </a:defRPr>
            </a:lvl1pPr>
          </a:lstStyle>
          <a:p>
            <a:fld id="{C3582239-E141-49A0-B8BF-A4E994E1CAE7}" type="datetimeFigureOut">
              <a:rPr lang="en-US" smtClean="0"/>
              <a:pPr/>
              <a:t>10/2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ark for HCA" panose="020B0606020201010104" pitchFamily="34" charset="0"/>
                <a:cs typeface="Mark for HCA" panose="020B0606020201010104" pitchFamily="34" charset="0"/>
                <a:sym typeface="Mark for HCA" panose="020B06060202010101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rk for HCA" panose="020B0606020201010104" pitchFamily="34" charset="0"/>
                <a:cs typeface="Mark for HCA" panose="020B0606020201010104" pitchFamily="34" charset="0"/>
                <a:sym typeface="Mark for HCA" panose="020B0606020201010104" pitchFamily="34" charset="0"/>
              </a:defRPr>
            </a:lvl1pPr>
          </a:lstStyle>
          <a:p>
            <a:fld id="{A580EA46-07A4-4051-ABC2-4E5C6FDDD37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2683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/ Section Hea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D3BB9499-7CE8-063C-34B3-E069E8BBDD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6653" y="2658055"/>
            <a:ext cx="3677477" cy="1625363"/>
          </a:xfrm>
        </p:spPr>
        <p:txBody>
          <a:bodyPr anchor="t" anchorCtr="0">
            <a:noAutofit/>
          </a:bodyPr>
          <a:lstStyle>
            <a:lvl1pPr algn="l">
              <a:defRPr sz="4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83F57AC-03AE-5E80-AEF2-2D09553D9E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33697" y="546652"/>
            <a:ext cx="6217452" cy="5377071"/>
          </a:xfrm>
        </p:spPr>
        <p:txBody>
          <a:bodyPr anchor="ctr"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6912E1-B2C8-479B-27D0-587DDF1638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91608" y="6186897"/>
            <a:ext cx="1359541" cy="38171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08CA39A-101F-F9BB-6E03-5663A7D335B3}"/>
              </a:ext>
            </a:extLst>
          </p:cNvPr>
          <p:cNvSpPr txBox="1"/>
          <p:nvPr userDrawn="1"/>
        </p:nvSpPr>
        <p:spPr>
          <a:xfrm>
            <a:off x="340851" y="6451360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93674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Blank Long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75D6E1-6D8E-F266-64C3-60BE7923C3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064872" y="6015163"/>
            <a:ext cx="1723087" cy="4837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26D4E4-3D7C-36A2-7539-87CA734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041" y="2438594"/>
            <a:ext cx="11383917" cy="1625363"/>
          </a:xfrm>
        </p:spPr>
        <p:txBody>
          <a:bodyPr anchor="t" anchorCtr="0">
            <a:noAutofit/>
          </a:bodyPr>
          <a:lstStyle>
            <a:lvl1pPr algn="l">
              <a:defRPr sz="5000" b="0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022A2C-75B6-8B7F-C26D-6031C06BE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041" y="4130957"/>
            <a:ext cx="11383917" cy="463418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AF744A-01EC-A898-363B-31D39C129D9C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992218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75D6E1-6D8E-F266-64C3-60BE7923C3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33313" y="3130630"/>
            <a:ext cx="2125374" cy="5967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762D81-5C7E-1C94-A67B-1BC5137BBF9A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889707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75D6E1-6D8E-F266-64C3-60BE7923C3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033313" y="3130630"/>
            <a:ext cx="2125374" cy="59673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762D81-5C7E-1C94-A67B-1BC5137BBF9A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tx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4407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Centred Diamo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97717B-A906-E76E-82E7-A47DEDFD38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278320" y="3199421"/>
            <a:ext cx="1635359" cy="4591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8F5013E-BA8F-8E7C-5F59-45E738E3AE2D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879699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Teal Diamo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52399D0-1BFE-5195-E9CA-8C103CCCFC62}"/>
              </a:ext>
            </a:extLst>
          </p:cNvPr>
          <p:cNvSpPr txBox="1"/>
          <p:nvPr userDrawn="1"/>
        </p:nvSpPr>
        <p:spPr>
          <a:xfrm>
            <a:off x="2743200" y="-29656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6B39E-A659-0FFC-50C7-DC471FFD0068}"/>
              </a:ext>
            </a:extLst>
          </p:cNvPr>
          <p:cNvSpPr txBox="1"/>
          <p:nvPr userDrawn="1"/>
        </p:nvSpPr>
        <p:spPr>
          <a:xfrm>
            <a:off x="1915297" y="-19770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97717B-A906-E76E-82E7-A47DEDFD38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278320" y="3199421"/>
            <a:ext cx="1635359" cy="4591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D03AAD4-4C9F-FD1D-1D48-286B7301D49E}"/>
              </a:ext>
            </a:extLst>
          </p:cNvPr>
          <p:cNvSpPr txBox="1"/>
          <p:nvPr userDrawn="1"/>
        </p:nvSpPr>
        <p:spPr>
          <a:xfrm>
            <a:off x="404041" y="6429781"/>
            <a:ext cx="14199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bg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60634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075EE4-F52C-E087-072C-1146C70B1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B591D4-4400-E2C0-D0FF-429E05CF2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979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858" r:id="rId2"/>
    <p:sldLayoutId id="2147483766" r:id="rId3"/>
    <p:sldLayoutId id="2147483789" r:id="rId4"/>
    <p:sldLayoutId id="2147483859" r:id="rId5"/>
    <p:sldLayoutId id="2147483767" r:id="rId6"/>
    <p:sldLayoutId id="2147483716" r:id="rId7"/>
    <p:sldLayoutId id="2147483856" r:id="rId8"/>
    <p:sldLayoutId id="2147483857" r:id="rId9"/>
    <p:sldLayoutId id="2147483717" r:id="rId10"/>
    <p:sldLayoutId id="2147483784" r:id="rId11"/>
    <p:sldLayoutId id="2147483786" r:id="rId12"/>
    <p:sldLayoutId id="2147483810" r:id="rId13"/>
    <p:sldLayoutId id="2147483761" r:id="rId14"/>
    <p:sldLayoutId id="2147483785" r:id="rId15"/>
    <p:sldLayoutId id="2147483787" r:id="rId16"/>
    <p:sldLayoutId id="2147483725" r:id="rId17"/>
    <p:sldLayoutId id="2147483757" r:id="rId18"/>
    <p:sldLayoutId id="2147483771" r:id="rId19"/>
    <p:sldLayoutId id="2147484394" r:id="rId20"/>
    <p:sldLayoutId id="2147484395" r:id="rId21"/>
    <p:sldLayoutId id="2147484396" r:id="rId22"/>
    <p:sldLayoutId id="2147484397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Aptos" panose="020B00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075EE4-F52C-E087-072C-1146C70B1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B591D4-4400-E2C0-D0FF-429E05CF2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648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5" r:id="rId1"/>
    <p:sldLayoutId id="2147483695" r:id="rId2"/>
    <p:sldLayoutId id="2147483688" r:id="rId3"/>
    <p:sldLayoutId id="2147484412" r:id="rId4"/>
    <p:sldLayoutId id="2147483690" r:id="rId5"/>
    <p:sldLayoutId id="2147483691" r:id="rId6"/>
    <p:sldLayoutId id="2147483692" r:id="rId7"/>
    <p:sldLayoutId id="2147483853" r:id="rId8"/>
    <p:sldLayoutId id="2147483854" r:id="rId9"/>
    <p:sldLayoutId id="2147484309" r:id="rId10"/>
    <p:sldLayoutId id="2147483683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4326" r:id="rId17"/>
    <p:sldLayoutId id="2147484398" r:id="rId18"/>
    <p:sldLayoutId id="2147483831" r:id="rId19"/>
    <p:sldLayoutId id="2147483758" r:id="rId20"/>
    <p:sldLayoutId id="2147483759" r:id="rId21"/>
    <p:sldLayoutId id="2147483726" r:id="rId22"/>
    <p:sldLayoutId id="2147483747" r:id="rId23"/>
    <p:sldLayoutId id="2147483748" r:id="rId24"/>
    <p:sldLayoutId id="2147483772" r:id="rId25"/>
    <p:sldLayoutId id="2147484413" r:id="rId2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ptos" panose="020B00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15308F-B62B-9A6A-1515-C561E6C1D1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C1E90-3E54-CC07-C06A-4C26AC8DD5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299" y="2408841"/>
            <a:ext cx="7958587" cy="152097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dirty="0">
                <a:latin typeface="Calibri"/>
                <a:ea typeface="Calibri"/>
                <a:cs typeface="Calibri"/>
              </a:rPr>
              <a:t>Elective caesarean section workflow</a:t>
            </a:r>
          </a:p>
          <a:p>
            <a:endParaRPr lang="en-GB" sz="4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4DE0C0A-7F48-C6B4-7881-A39C4534EA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latin typeface="Aptos"/>
                <a:cs typeface="Arial"/>
              </a:rPr>
              <a:t>20</a:t>
            </a:r>
            <a:r>
              <a:rPr lang="en-US" baseline="30000" dirty="0">
                <a:latin typeface="Aptos"/>
                <a:cs typeface="Arial"/>
              </a:rPr>
              <a:t>th</a:t>
            </a:r>
            <a:r>
              <a:rPr lang="en-US" dirty="0">
                <a:latin typeface="Aptos"/>
                <a:cs typeface="Arial"/>
              </a:rPr>
              <a:t> October 2025</a:t>
            </a:r>
            <a:endParaRPr lang="en-US" dirty="0"/>
          </a:p>
        </p:txBody>
      </p:sp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C279B38E-DFE2-D2EB-92AA-743671CB94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80945" y="2768"/>
            <a:ext cx="2305788" cy="73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1950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A89EF9-6B7A-0999-3A78-A3938A3E63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2647579-B03A-B4C6-ADA0-B93D9BADF5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242" y="1459868"/>
            <a:ext cx="8992855" cy="463932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EF7F9ED-25DB-A035-3AE6-A9F119812C3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cs typeface="Arial"/>
              </a:rPr>
              <a:t>Prescribe medications and order bloods</a:t>
            </a:r>
            <a:endParaRPr lang="en-US" b="1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D0F4B9F1-CABC-A5FB-6709-7213AE0995CF}"/>
              </a:ext>
            </a:extLst>
          </p:cNvPr>
          <p:cNvSpPr/>
          <p:nvPr/>
        </p:nvSpPr>
        <p:spPr>
          <a:xfrm>
            <a:off x="3930551" y="3757932"/>
            <a:ext cx="940130" cy="25696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39448C-5E75-13D0-96C7-A3EFE600FA03}"/>
              </a:ext>
            </a:extLst>
          </p:cNvPr>
          <p:cNvSpPr txBox="1"/>
          <p:nvPr/>
        </p:nvSpPr>
        <p:spPr>
          <a:xfrm flipH="1">
            <a:off x="10016025" y="1330025"/>
            <a:ext cx="17011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ick “Orders”</a:t>
            </a:r>
            <a:endParaRPr lang="en-GB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09F5E00D-0D11-527D-8730-0CB63CE96301}"/>
              </a:ext>
            </a:extLst>
          </p:cNvPr>
          <p:cNvSpPr/>
          <p:nvPr/>
        </p:nvSpPr>
        <p:spPr>
          <a:xfrm flipH="1">
            <a:off x="9001647" y="1595693"/>
            <a:ext cx="1320522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7CD67D-DC6A-0612-5604-8773407A9BB1}"/>
              </a:ext>
            </a:extLst>
          </p:cNvPr>
          <p:cNvSpPr txBox="1"/>
          <p:nvPr/>
        </p:nvSpPr>
        <p:spPr>
          <a:xfrm>
            <a:off x="3089916" y="3487141"/>
            <a:ext cx="21853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2) Search for the drug or test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685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E7C61D-7787-D77D-3A2E-F7743F1970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E22499-B9AD-A360-076E-AD673BDB49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2800" b="1" dirty="0">
                <a:cs typeface="Arial"/>
              </a:rPr>
              <a:t>High level changes for Obstetricians</a:t>
            </a:r>
            <a:endParaRPr lang="en-US" sz="2800" b="1" dirty="0"/>
          </a:p>
        </p:txBody>
      </p:sp>
      <p:pic>
        <p:nvPicPr>
          <p:cNvPr id="187" name="Picture 186" descr="A black and white logo&#10;&#10;Description automatically generated">
            <a:extLst>
              <a:ext uri="{FF2B5EF4-FFF2-40B4-BE49-F238E27FC236}">
                <a16:creationId xmlns:a16="http://schemas.microsoft.com/office/drawing/2014/main" id="{4939A089-65C8-8B4A-C245-8EFBF85CCD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0945" y="2768"/>
            <a:ext cx="2305788" cy="730879"/>
          </a:xfrm>
          <a:prstGeom prst="rect">
            <a:avLst/>
          </a:prstGeom>
        </p:spPr>
      </p:pic>
      <p:pic>
        <p:nvPicPr>
          <p:cNvPr id="4" name="Picture 3" descr="A black and white text on a white background&#10;&#10;AI-generated content may be incorrect.">
            <a:extLst>
              <a:ext uri="{FF2B5EF4-FFF2-40B4-BE49-F238E27FC236}">
                <a16:creationId xmlns:a16="http://schemas.microsoft.com/office/drawing/2014/main" id="{7593CF7D-433A-817B-A98E-8144F7E891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149" y="1492991"/>
            <a:ext cx="11027702" cy="4411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121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4899D-8919-A347-14C7-8D8CCEC64F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2800" b="1" dirty="0">
                <a:cs typeface="Arial"/>
              </a:rPr>
              <a:t>Overview</a:t>
            </a:r>
            <a:endParaRPr lang="en-US" sz="2800" dirty="0"/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126398E7-8550-A462-8860-98D4693DF2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4680562"/>
              </p:ext>
            </p:extLst>
          </p:nvPr>
        </p:nvGraphicFramePr>
        <p:xfrm>
          <a:off x="1270001" y="779584"/>
          <a:ext cx="9437076" cy="57286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342" name="TextBox 5341">
            <a:extLst>
              <a:ext uri="{FF2B5EF4-FFF2-40B4-BE49-F238E27FC236}">
                <a16:creationId xmlns:a16="http://schemas.microsoft.com/office/drawing/2014/main" id="{FEAEB586-A411-5E1F-B54D-9DD6EA1A4FC6}"/>
              </a:ext>
            </a:extLst>
          </p:cNvPr>
          <p:cNvSpPr txBox="1"/>
          <p:nvPr/>
        </p:nvSpPr>
        <p:spPr>
          <a:xfrm>
            <a:off x="4707723" y="6348073"/>
            <a:ext cx="6643077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i="1" dirty="0"/>
              <a:t>*Either Anaesthetic Assessment" or "Anaesthetic Note" PDOC can be used</a:t>
            </a:r>
          </a:p>
        </p:txBody>
      </p:sp>
    </p:spTree>
    <p:extLst>
      <p:ext uri="{BB962C8B-B14F-4D97-AF65-F5344CB8AC3E}">
        <p14:creationId xmlns:p14="http://schemas.microsoft.com/office/powerpoint/2010/main" val="26838820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1D3074A-29F6-51C2-EFBA-4CB0ADAA5C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9084" y="1141893"/>
            <a:ext cx="9926435" cy="55633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ACF973-08A7-F7A7-1DAE-EA466E9D0A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cs typeface="Arial"/>
              </a:rPr>
              <a:t>Checking blood results</a:t>
            </a:r>
            <a:endParaRPr lang="en-US" b="1" dirty="0"/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F5A3A737-03F3-0E06-C376-3EA241716735}"/>
              </a:ext>
            </a:extLst>
          </p:cNvPr>
          <p:cNvSpPr/>
          <p:nvPr/>
        </p:nvSpPr>
        <p:spPr>
          <a:xfrm>
            <a:off x="5779698" y="1219200"/>
            <a:ext cx="632604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FAE88B0-A0EB-590D-A3B8-618A05ACF9B8}"/>
              </a:ext>
            </a:extLst>
          </p:cNvPr>
          <p:cNvSpPr/>
          <p:nvPr/>
        </p:nvSpPr>
        <p:spPr>
          <a:xfrm>
            <a:off x="2145102" y="1889184"/>
            <a:ext cx="388189" cy="18115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6F66AF2C-8022-45C4-DDCA-BDB1898DF12B}"/>
              </a:ext>
            </a:extLst>
          </p:cNvPr>
          <p:cNvSpPr/>
          <p:nvPr/>
        </p:nvSpPr>
        <p:spPr>
          <a:xfrm>
            <a:off x="8065698" y="5387191"/>
            <a:ext cx="388189" cy="18115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52C6B7-DEFD-1FE1-7D53-BDC27DA101CF}"/>
              </a:ext>
            </a:extLst>
          </p:cNvPr>
          <p:cNvSpPr txBox="1"/>
          <p:nvPr/>
        </p:nvSpPr>
        <p:spPr>
          <a:xfrm>
            <a:off x="4037163" y="1192685"/>
            <a:ext cx="19898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1) Click “Chart”</a:t>
            </a:r>
            <a:endParaRPr lang="en-GB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DD6F66-ECC9-8083-69B2-FC4696DDA0D4}"/>
              </a:ext>
            </a:extLst>
          </p:cNvPr>
          <p:cNvSpPr txBox="1"/>
          <p:nvPr/>
        </p:nvSpPr>
        <p:spPr>
          <a:xfrm>
            <a:off x="816481" y="1777951"/>
            <a:ext cx="18575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2) Select the “Diagnostics” tab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375E87-69ED-2733-A791-97936A872795}"/>
              </a:ext>
            </a:extLst>
          </p:cNvPr>
          <p:cNvSpPr txBox="1"/>
          <p:nvPr/>
        </p:nvSpPr>
        <p:spPr>
          <a:xfrm>
            <a:off x="6708323" y="5131332"/>
            <a:ext cx="18575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3) Click here to view results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2358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AB78D9-72DE-DB10-23C6-5CF89C6AA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CB39F-2E38-630E-54AE-0E1ACCAA94C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cs typeface="Arial"/>
              </a:rPr>
              <a:t>Document pre-operative review</a:t>
            </a:r>
            <a:endParaRPr lang="en-US" b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229C82-BC06-6FCF-066A-5C13DD5D75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519" y="1677451"/>
            <a:ext cx="10126488" cy="4239217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DA80884D-E4AB-78F5-3532-4AF8FF942435}"/>
              </a:ext>
            </a:extLst>
          </p:cNvPr>
          <p:cNvSpPr/>
          <p:nvPr/>
        </p:nvSpPr>
        <p:spPr>
          <a:xfrm flipH="1">
            <a:off x="3444815" y="1857554"/>
            <a:ext cx="1190445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2A6C83B-A9A0-A9F0-037B-ACCC4095D0CB}"/>
              </a:ext>
            </a:extLst>
          </p:cNvPr>
          <p:cNvSpPr txBox="1"/>
          <p:nvPr/>
        </p:nvSpPr>
        <p:spPr>
          <a:xfrm flipH="1">
            <a:off x="4635260" y="1831039"/>
            <a:ext cx="3744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) Click “Document”</a:t>
            </a:r>
            <a:endParaRPr lang="en-GB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DC6766CA-5500-280F-6394-6ABC049BB97D}"/>
              </a:ext>
            </a:extLst>
          </p:cNvPr>
          <p:cNvSpPr/>
          <p:nvPr/>
        </p:nvSpPr>
        <p:spPr>
          <a:xfrm>
            <a:off x="4786314" y="4416090"/>
            <a:ext cx="743218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EC43A1-7014-2459-8844-7D28A48DCE19}"/>
              </a:ext>
            </a:extLst>
          </p:cNvPr>
          <p:cNvSpPr txBox="1"/>
          <p:nvPr/>
        </p:nvSpPr>
        <p:spPr>
          <a:xfrm>
            <a:off x="3289541" y="4360979"/>
            <a:ext cx="2337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2) Search for “Obstetrics in…”</a:t>
            </a:r>
            <a:endParaRPr lang="en-GB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2ACEF9-8678-2509-7E3D-D75595F416ED}"/>
              </a:ext>
            </a:extLst>
          </p:cNvPr>
          <p:cNvSpPr txBox="1"/>
          <p:nvPr/>
        </p:nvSpPr>
        <p:spPr>
          <a:xfrm>
            <a:off x="7536613" y="5934670"/>
            <a:ext cx="23377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3) Click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 to </a:t>
            </a:r>
            <a:r>
              <a:rPr lang="en-US" b="1" dirty="0" err="1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favourite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, and select the document</a:t>
            </a:r>
            <a:endParaRPr lang="en-GB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1783B4EB-0B1E-3558-6A25-1E2876194822}"/>
              </a:ext>
            </a:extLst>
          </p:cNvPr>
          <p:cNvSpPr/>
          <p:nvPr/>
        </p:nvSpPr>
        <p:spPr>
          <a:xfrm rot="19457100">
            <a:off x="9572443" y="5632746"/>
            <a:ext cx="1135812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43B58D1E-B030-05F2-63E0-7E1C3DBCD16C}"/>
              </a:ext>
            </a:extLst>
          </p:cNvPr>
          <p:cNvSpPr/>
          <p:nvPr/>
        </p:nvSpPr>
        <p:spPr>
          <a:xfrm rot="13432604">
            <a:off x="8501076" y="5526090"/>
            <a:ext cx="1130996" cy="25145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0505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64D18B-FBA9-BC92-C54E-29EBA347D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DB434E9-B44B-29A0-C258-9037C7FABA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089" y="2317630"/>
            <a:ext cx="9705158" cy="33151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E23E04-6656-DF27-9BE3-87771E0033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cs typeface="Arial"/>
              </a:rPr>
              <a:t>Document pre-operative review</a:t>
            </a:r>
            <a:endParaRPr lang="en-US" b="1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955F9C5A-2E00-3E72-F5EF-1324519FDC50}"/>
              </a:ext>
            </a:extLst>
          </p:cNvPr>
          <p:cNvSpPr/>
          <p:nvPr/>
        </p:nvSpPr>
        <p:spPr>
          <a:xfrm flipH="1">
            <a:off x="2812209" y="4401207"/>
            <a:ext cx="833887" cy="22656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17D1A240-4814-E0C7-3720-A91441346611}"/>
              </a:ext>
            </a:extLst>
          </p:cNvPr>
          <p:cNvSpPr/>
          <p:nvPr/>
        </p:nvSpPr>
        <p:spPr>
          <a:xfrm flipH="1">
            <a:off x="2211238" y="3532995"/>
            <a:ext cx="744748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A116B0-E5BA-7DFA-B5DE-0DD15220DEA0}"/>
              </a:ext>
            </a:extLst>
          </p:cNvPr>
          <p:cNvSpPr txBox="1"/>
          <p:nvPr/>
        </p:nvSpPr>
        <p:spPr>
          <a:xfrm>
            <a:off x="2938733" y="3275647"/>
            <a:ext cx="26511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1) Click “Progress” to open the documentation section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3B0687-73A7-2DC6-5B90-7C37E7AD3598}"/>
              </a:ext>
            </a:extLst>
          </p:cNvPr>
          <p:cNvSpPr txBox="1"/>
          <p:nvPr/>
        </p:nvSpPr>
        <p:spPr>
          <a:xfrm>
            <a:off x="9658711" y="4059770"/>
            <a:ext cx="24930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4) Click “complete” to sign the document</a:t>
            </a:r>
            <a:endParaRPr lang="en-GB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65896089-2E0D-5B48-3D4F-9139357FC9B7}"/>
              </a:ext>
            </a:extLst>
          </p:cNvPr>
          <p:cNvSpPr/>
          <p:nvPr/>
        </p:nvSpPr>
        <p:spPr>
          <a:xfrm rot="15051274">
            <a:off x="10210797" y="3332814"/>
            <a:ext cx="1135812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36BE2B96-770F-25A3-AD9C-5D162A444FD3}"/>
              </a:ext>
            </a:extLst>
          </p:cNvPr>
          <p:cNvSpPr/>
          <p:nvPr/>
        </p:nvSpPr>
        <p:spPr>
          <a:xfrm rot="13321671">
            <a:off x="2591839" y="5654372"/>
            <a:ext cx="728294" cy="25145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A954E8-98F8-691F-8B0D-8F8615BFE5BC}"/>
              </a:ext>
            </a:extLst>
          </p:cNvPr>
          <p:cNvSpPr txBox="1"/>
          <p:nvPr/>
        </p:nvSpPr>
        <p:spPr>
          <a:xfrm>
            <a:off x="3646095" y="4169919"/>
            <a:ext cx="29329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2) Leave this section blank, so that it does not show in the final document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1EEE25-47C4-4E84-E53B-078C4940EEA6}"/>
              </a:ext>
            </a:extLst>
          </p:cNvPr>
          <p:cNvSpPr txBox="1"/>
          <p:nvPr/>
        </p:nvSpPr>
        <p:spPr>
          <a:xfrm>
            <a:off x="3355673" y="5663285"/>
            <a:ext cx="29329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3) Click in this box and type to document your review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885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CB41FB-CB57-6448-73FA-6B8314288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A66F9C1-8C5F-D22B-30C7-1AB2F600B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2983" y="1748548"/>
            <a:ext cx="9231013" cy="39820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B5399B-EC5C-A137-ED6C-B96454234E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cs typeface="Arial"/>
              </a:rPr>
              <a:t>Document caesarean section (op note)</a:t>
            </a:r>
            <a:endParaRPr lang="en-US" b="1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E9F00BDC-BA43-8CD2-C774-A39A3992B990}"/>
              </a:ext>
            </a:extLst>
          </p:cNvPr>
          <p:cNvSpPr/>
          <p:nvPr/>
        </p:nvSpPr>
        <p:spPr>
          <a:xfrm>
            <a:off x="4344987" y="4654342"/>
            <a:ext cx="940130" cy="25696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6C5C3A-E00E-188A-6377-F17553285696}"/>
              </a:ext>
            </a:extLst>
          </p:cNvPr>
          <p:cNvSpPr txBox="1"/>
          <p:nvPr/>
        </p:nvSpPr>
        <p:spPr>
          <a:xfrm flipH="1">
            <a:off x="3229152" y="1896664"/>
            <a:ext cx="3744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) Click “Document”</a:t>
            </a:r>
            <a:endParaRPr lang="en-GB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984D8B56-A67F-608A-E4A1-B9725BB3C16D}"/>
              </a:ext>
            </a:extLst>
          </p:cNvPr>
          <p:cNvSpPr/>
          <p:nvPr/>
        </p:nvSpPr>
        <p:spPr>
          <a:xfrm flipH="1">
            <a:off x="2484404" y="1923179"/>
            <a:ext cx="744748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8EAC2E35-3252-9A6D-2CBC-AE3BBB82BC63}"/>
              </a:ext>
            </a:extLst>
          </p:cNvPr>
          <p:cNvSpPr/>
          <p:nvPr/>
        </p:nvSpPr>
        <p:spPr>
          <a:xfrm rot="19658897">
            <a:off x="8755796" y="5549887"/>
            <a:ext cx="1496760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6F85EE12-A265-A784-7246-84625263C122}"/>
              </a:ext>
            </a:extLst>
          </p:cNvPr>
          <p:cNvSpPr/>
          <p:nvPr/>
        </p:nvSpPr>
        <p:spPr>
          <a:xfrm rot="13321671">
            <a:off x="6721017" y="5504848"/>
            <a:ext cx="728294" cy="25145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05542-D38F-02A7-41D5-37934BA29BBE}"/>
              </a:ext>
            </a:extLst>
          </p:cNvPr>
          <p:cNvSpPr txBox="1"/>
          <p:nvPr/>
        </p:nvSpPr>
        <p:spPr>
          <a:xfrm>
            <a:off x="2955986" y="4427722"/>
            <a:ext cx="21853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2) Type “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Obs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C..” to search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BA54C3-F7F7-8C3B-1EF0-CA18F7FFD83A}"/>
              </a:ext>
            </a:extLst>
          </p:cNvPr>
          <p:cNvSpPr txBox="1"/>
          <p:nvPr/>
        </p:nvSpPr>
        <p:spPr>
          <a:xfrm>
            <a:off x="6190888" y="5878670"/>
            <a:ext cx="29329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3)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Favourite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and select the document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726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A0CF23-AB70-74A2-E67C-20AFF1D5A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4935066-A537-BA02-948D-0688B1A93A4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6765"/>
          <a:stretch>
            <a:fillRect/>
          </a:stretch>
        </p:blipFill>
        <p:spPr>
          <a:xfrm>
            <a:off x="9685960" y="1509444"/>
            <a:ext cx="1939510" cy="34191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E988CB-85C3-2F51-36B0-3CF21CE40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5494" y="1509444"/>
            <a:ext cx="7421011" cy="38391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3EA792-CEDA-9FB1-F51B-EB0E1FFD35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cs typeface="Arial"/>
              </a:rPr>
              <a:t>Document caesarean section (op note)</a:t>
            </a:r>
            <a:endParaRPr lang="en-US" b="1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8268C05B-B7AE-3A56-FF55-8EEF5FE907F5}"/>
              </a:ext>
            </a:extLst>
          </p:cNvPr>
          <p:cNvSpPr/>
          <p:nvPr/>
        </p:nvSpPr>
        <p:spPr>
          <a:xfrm>
            <a:off x="1943821" y="4313208"/>
            <a:ext cx="1012165" cy="34505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0787A183-4153-6F0D-0A5A-44117C8995A4}"/>
              </a:ext>
            </a:extLst>
          </p:cNvPr>
          <p:cNvSpPr/>
          <p:nvPr/>
        </p:nvSpPr>
        <p:spPr>
          <a:xfrm flipH="1">
            <a:off x="5545796" y="2808376"/>
            <a:ext cx="1117951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A64307-61C9-C1B2-FA10-8FF492D24F7E}"/>
              </a:ext>
            </a:extLst>
          </p:cNvPr>
          <p:cNvSpPr txBox="1"/>
          <p:nvPr/>
        </p:nvSpPr>
        <p:spPr>
          <a:xfrm>
            <a:off x="6617741" y="2378700"/>
            <a:ext cx="32671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1) Click “Obstetrics Caesarean Section” to open the documentation sections</a:t>
            </a:r>
            <a:endParaRPr lang="en-GB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957BD9D5-BE18-3282-C1D0-22276398677D}"/>
              </a:ext>
            </a:extLst>
          </p:cNvPr>
          <p:cNvSpPr/>
          <p:nvPr/>
        </p:nvSpPr>
        <p:spPr>
          <a:xfrm rot="16200000">
            <a:off x="10015244" y="2710341"/>
            <a:ext cx="1862103" cy="26004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1F308B-EDC2-646E-F410-02578AF65C9F}"/>
              </a:ext>
            </a:extLst>
          </p:cNvPr>
          <p:cNvSpPr txBox="1"/>
          <p:nvPr/>
        </p:nvSpPr>
        <p:spPr>
          <a:xfrm>
            <a:off x="559727" y="3827266"/>
            <a:ext cx="20415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2) Select buttons and enter free text as required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674FBF-3865-D51C-464E-36F4B1BB4403}"/>
              </a:ext>
            </a:extLst>
          </p:cNvPr>
          <p:cNvSpPr txBox="1"/>
          <p:nvPr/>
        </p:nvSpPr>
        <p:spPr>
          <a:xfrm>
            <a:off x="10423583" y="3827266"/>
            <a:ext cx="16533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3) Click “Complete” to sign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7061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D582A3-7357-A0BE-4B2E-148CC88A42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6E5075D-4D3D-848B-777F-DA716C5C43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5450" y="1684156"/>
            <a:ext cx="8859486" cy="44869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1D7F784-D9B4-C6A5-F4A7-1C232FE30FD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cs typeface="Arial"/>
              </a:rPr>
              <a:t>Document caesarean section (op note)</a:t>
            </a:r>
            <a:endParaRPr lang="en-US" b="1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CFDF70BE-ABDB-3467-1E15-2F529D8FC972}"/>
              </a:ext>
            </a:extLst>
          </p:cNvPr>
          <p:cNvSpPr/>
          <p:nvPr/>
        </p:nvSpPr>
        <p:spPr>
          <a:xfrm>
            <a:off x="3988429" y="4549766"/>
            <a:ext cx="940130" cy="25696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F479B7-8C09-4CB3-F314-6623C6C10AD3}"/>
              </a:ext>
            </a:extLst>
          </p:cNvPr>
          <p:cNvSpPr txBox="1"/>
          <p:nvPr/>
        </p:nvSpPr>
        <p:spPr>
          <a:xfrm flipH="1">
            <a:off x="3229152" y="1896664"/>
            <a:ext cx="3744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) Click “Document”</a:t>
            </a:r>
            <a:endParaRPr lang="en-GB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A33FE8DE-FF6F-EAB5-423D-5A1C0CC3CCFC}"/>
              </a:ext>
            </a:extLst>
          </p:cNvPr>
          <p:cNvSpPr/>
          <p:nvPr/>
        </p:nvSpPr>
        <p:spPr>
          <a:xfrm flipH="1">
            <a:off x="2484404" y="1923179"/>
            <a:ext cx="744748" cy="3163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D9C937E1-6051-56A8-75BC-A723A05E704D}"/>
              </a:ext>
            </a:extLst>
          </p:cNvPr>
          <p:cNvSpPr/>
          <p:nvPr/>
        </p:nvSpPr>
        <p:spPr>
          <a:xfrm rot="19658897">
            <a:off x="8723631" y="5573781"/>
            <a:ext cx="1195272" cy="30081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63937C46-9056-20E2-7E4D-6826EE05E631}"/>
              </a:ext>
            </a:extLst>
          </p:cNvPr>
          <p:cNvSpPr/>
          <p:nvPr/>
        </p:nvSpPr>
        <p:spPr>
          <a:xfrm rot="14232113">
            <a:off x="6662280" y="5612573"/>
            <a:ext cx="1025907" cy="27397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F49C6F-60E6-6D71-6F6E-9FB9C8ABE214}"/>
              </a:ext>
            </a:extLst>
          </p:cNvPr>
          <p:cNvSpPr txBox="1"/>
          <p:nvPr/>
        </p:nvSpPr>
        <p:spPr>
          <a:xfrm>
            <a:off x="3001993" y="4299617"/>
            <a:ext cx="21853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2) Type “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Obs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P..” to search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07C1CB-27C8-36BA-02D3-77E3D79F57CA}"/>
              </a:ext>
            </a:extLst>
          </p:cNvPr>
          <p:cNvSpPr txBox="1"/>
          <p:nvPr/>
        </p:nvSpPr>
        <p:spPr>
          <a:xfrm>
            <a:off x="6973641" y="6242111"/>
            <a:ext cx="29329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3)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Favourite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and select the document</a:t>
            </a:r>
            <a:endParaRPr lang="en-GB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977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rt and End Slides">
  <a:themeElements>
    <a:clrScheme name="HCA UK 2024">
      <a:dk1>
        <a:srgbClr val="000000"/>
      </a:dk1>
      <a:lt1>
        <a:srgbClr val="FFFFFF"/>
      </a:lt1>
      <a:dk2>
        <a:srgbClr val="03173E"/>
      </a:dk2>
      <a:lt2>
        <a:srgbClr val="00558C"/>
      </a:lt2>
      <a:accent1>
        <a:srgbClr val="77C7C3"/>
      </a:accent1>
      <a:accent2>
        <a:srgbClr val="98C396"/>
      </a:accent2>
      <a:accent3>
        <a:srgbClr val="BEDEEE"/>
      </a:accent3>
      <a:accent4>
        <a:srgbClr val="FAE1BF"/>
      </a:accent4>
      <a:accent5>
        <a:srgbClr val="F8D0B8"/>
      </a:accent5>
      <a:accent6>
        <a:srgbClr val="7CB2D8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Blank Slides">
  <a:themeElements>
    <a:clrScheme name="HCA UK 2024">
      <a:dk1>
        <a:srgbClr val="000000"/>
      </a:dk1>
      <a:lt1>
        <a:srgbClr val="FFFFFF"/>
      </a:lt1>
      <a:dk2>
        <a:srgbClr val="03173E"/>
      </a:dk2>
      <a:lt2>
        <a:srgbClr val="00558C"/>
      </a:lt2>
      <a:accent1>
        <a:srgbClr val="77C7C3"/>
      </a:accent1>
      <a:accent2>
        <a:srgbClr val="98C396"/>
      </a:accent2>
      <a:accent3>
        <a:srgbClr val="BEDEEE"/>
      </a:accent3>
      <a:accent4>
        <a:srgbClr val="FAE1BF"/>
      </a:accent4>
      <a:accent5>
        <a:srgbClr val="F8D0B8"/>
      </a:accent5>
      <a:accent6>
        <a:srgbClr val="7CB2D8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ssignedto xmlns="bba451f1-a467-403a-8263-a833efa47a76" xsi:nil="true"/>
    <Orginator xmlns="bba451f1-a467-403a-8263-a833efa47a76">
      <UserInfo>
        <DisplayName/>
        <AccountId xsi:nil="true"/>
        <AccountType/>
      </UserInfo>
    </Orginator>
    <AssociatedCRLogID xmlns="bba451f1-a467-403a-8263-a833efa47a76" xsi:nil="true"/>
    <Workstream xmlns="bba451f1-a467-403a-8263-a833efa47a76" xsi:nil="true"/>
    <DateBuiltorDescoped xmlns="bba451f1-a467-403a-8263-a833efa47a76" xsi:nil="true"/>
    <TaxCatchAll xmlns="aa4f40c5-e82b-4f09-8153-660ef45f0188" xsi:nil="true"/>
    <SP6LiveWorkbook xmlns="bba451f1-a467-403a-8263-a833efa47a76" xsi:nil="true"/>
    <TypeofChange xmlns="bba451f1-a467-403a-8263-a833efa47a76" xsi:nil="true"/>
    <Status xmlns="bba451f1-a467-403a-8263-a833efa47a76" xsi:nil="true"/>
    <lcf76f155ced4ddcb4097134ff3c332f xmlns="bba451f1-a467-403a-8263-a833efa47a76">
      <Terms xmlns="http://schemas.microsoft.com/office/infopath/2007/PartnerControls"/>
    </lcf76f155ced4ddcb4097134ff3c332f>
    <_Flow_SignoffStatus xmlns="bba451f1-a467-403a-8263-a833efa47a76" xsi:nil="true"/>
    <ResourceLink xmlns="bba451f1-a467-403a-8263-a833efa47a76">
      <Url xsi:nil="true"/>
      <Description xsi:nil="true"/>
    </ResourceLink>
    <Comments xmlns="bba451f1-a467-403a-8263-a833efa47a7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C9B5497CDD3A418838FF1C189006F7" ma:contentTypeVersion="30" ma:contentTypeDescription="Create a new document." ma:contentTypeScope="" ma:versionID="547a0daa2df21edb8229c6980c906ce1">
  <xsd:schema xmlns:xsd="http://www.w3.org/2001/XMLSchema" xmlns:xs="http://www.w3.org/2001/XMLSchema" xmlns:p="http://schemas.microsoft.com/office/2006/metadata/properties" xmlns:ns2="bba451f1-a467-403a-8263-a833efa47a76" xmlns:ns3="aa4f40c5-e82b-4f09-8153-660ef45f0188" targetNamespace="http://schemas.microsoft.com/office/2006/metadata/properties" ma:root="true" ma:fieldsID="6c4874ca4edac2b029fc886cde33f585" ns2:_="" ns3:_="">
    <xsd:import namespace="bba451f1-a467-403a-8263-a833efa47a76"/>
    <xsd:import namespace="aa4f40c5-e82b-4f09-8153-660ef45f0188"/>
    <xsd:element name="properties">
      <xsd:complexType>
        <xsd:sequence>
          <xsd:element name="documentManagement">
            <xsd:complexType>
              <xsd:all>
                <xsd:element ref="ns2:SP6LiveWorkbook" minOccurs="0"/>
                <xsd:element ref="ns2:Comments" minOccurs="0"/>
                <xsd:element ref="ns2:ResourceLink" minOccurs="0"/>
                <xsd:element ref="ns2:Status" minOccurs="0"/>
                <xsd:element ref="ns2:Assignedto" minOccurs="0"/>
                <xsd:element ref="ns2:_Flow_SignoffStatus" minOccurs="0"/>
                <xsd:element ref="ns2:DateBuiltorDescoped" minOccurs="0"/>
                <xsd:element ref="ns2:AssociatedCRLogID" minOccurs="0"/>
                <xsd:element ref="ns2:Workstream" minOccurs="0"/>
                <xsd:element ref="ns2:Orginator" minOccurs="0"/>
                <xsd:element ref="ns2:TypeofChange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bjectDetectorVersions" minOccurs="0"/>
                <xsd:element ref="ns2:MediaServiceOCR" minOccurs="0"/>
                <xsd:element ref="ns2:MediaServiceMetadata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Billing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a451f1-a467-403a-8263-a833efa47a76" elementFormDefault="qualified">
    <xsd:import namespace="http://schemas.microsoft.com/office/2006/documentManagement/types"/>
    <xsd:import namespace="http://schemas.microsoft.com/office/infopath/2007/PartnerControls"/>
    <xsd:element name="SP6LiveWorkbook" ma:index="2" nillable="true" ma:displayName="SP6 Live Workbook" ma:format="Dropdown" ma:internalName="SP6LiveWorkbook" ma:readOnly="false">
      <xsd:simpleType>
        <xsd:restriction base="dms:Choice">
          <xsd:enumeration value="Yes"/>
          <xsd:enumeration value="No"/>
        </xsd:restriction>
      </xsd:simpleType>
    </xsd:element>
    <xsd:element name="Comments" ma:index="4" nillable="true" ma:displayName="Dictionary Comments" ma:format="Dropdown" ma:internalName="Comments" ma:readOnly="false">
      <xsd:simpleType>
        <xsd:restriction base="dms:Note">
          <xsd:maxLength value="255"/>
        </xsd:restriction>
      </xsd:simpleType>
    </xsd:element>
    <xsd:element name="ResourceLink" ma:index="5" nillable="true" ma:displayName="Resource Link" ma:format="Hyperlink" ma:internalName="ResourceLink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Status" ma:index="6" nillable="true" ma:displayName="Dictionary Status" ma:format="Dropdown" ma:internalName="Status" ma:readOnly="false">
      <xsd:simpleType>
        <xsd:restriction base="dms:Choice">
          <xsd:enumeration value="ELT Approved"/>
          <xsd:enumeration value="Archive"/>
          <xsd:enumeration value="Ready for CAG/CCB"/>
          <xsd:enumeration value="On Hold"/>
          <xsd:enumeration value="Dictionary Not in Scope"/>
          <xsd:enumeration value="Back to Workstream"/>
          <xsd:enumeration value="CAG/CCB Approved"/>
          <xsd:enumeration value="CAG Approved - Urgent/Priority"/>
          <xsd:enumeration value="Build in Progress"/>
          <xsd:enumeration value="Build Completed"/>
          <xsd:enumeration value="Back to Build - Hold Resolved"/>
          <xsd:enumeration value="PMO Review in Progress"/>
          <xsd:enumeration value="ServiceNow Ticket Logged"/>
          <xsd:enumeration value="Circle Ticket Logged"/>
          <xsd:enumeration value="Update in Progress"/>
          <xsd:enumeration value="Update Complete"/>
          <xsd:enumeration value="Deferred"/>
          <xsd:enumeration value="Rejected"/>
          <xsd:enumeration value="Triage in Progress"/>
          <xsd:enumeration value="Approved – Online Pathway"/>
          <xsd:enumeration value="Workstream Validation Needed"/>
        </xsd:restriction>
      </xsd:simpleType>
    </xsd:element>
    <xsd:element name="Assignedto" ma:index="7" nillable="true" ma:displayName="Assigned to " ma:description="Build Team Member Building " ma:format="Dropdown" ma:internalName="Assignedto" ma:readOnly="false">
      <xsd:simpleType>
        <xsd:restriction base="dms:Text">
          <xsd:maxLength value="255"/>
        </xsd:restriction>
      </xsd:simpleType>
    </xsd:element>
    <xsd:element name="_Flow_SignoffStatus" ma:index="8" nillable="true" ma:displayName="Sign-off status" ma:internalName="Sign_x002d_off_x0020_status" ma:readOnly="false">
      <xsd:simpleType>
        <xsd:restriction base="dms:Text"/>
      </xsd:simpleType>
    </xsd:element>
    <xsd:element name="DateBuiltorDescoped" ma:index="9" nillable="true" ma:displayName="Date Built or Descoped" ma:format="DateOnly" ma:internalName="DateBuiltorDescoped" ma:readOnly="false">
      <xsd:simpleType>
        <xsd:restriction base="dms:DateTime"/>
      </xsd:simpleType>
    </xsd:element>
    <xsd:element name="AssociatedCRLogID" ma:index="10" nillable="true" ma:displayName="Associated CR Log ID" ma:format="Dropdown" ma:internalName="AssociatedCRLogID" ma:readOnly="false">
      <xsd:simpleType>
        <xsd:restriction base="dms:Choice">
          <xsd:enumeration value="CR/001"/>
          <xsd:enumeration value="CR/002"/>
          <xsd:enumeration value="CR/003"/>
          <xsd:enumeration value="CR/004"/>
          <xsd:enumeration value="CR/005"/>
          <xsd:enumeration value="CR/006"/>
          <xsd:enumeration value="CR/007"/>
          <xsd:enumeration value="CR/008"/>
          <xsd:enumeration value="CR/009"/>
          <xsd:enumeration value="CR/010"/>
          <xsd:enumeration value="CR/011"/>
          <xsd:enumeration value="CR/012"/>
          <xsd:enumeration value="CR/013"/>
          <xsd:enumeration value="CR/014"/>
          <xsd:enumeration value="CR/015"/>
          <xsd:enumeration value="CR/016"/>
          <xsd:enumeration value="CR/017"/>
          <xsd:enumeration value="CR/018"/>
          <xsd:enumeration value="CR/019"/>
          <xsd:enumeration value="CR/020"/>
          <xsd:enumeration value="CR/021"/>
          <xsd:enumeration value="CR/022"/>
          <xsd:enumeration value="CR/023"/>
          <xsd:enumeration value="CR/024"/>
          <xsd:enumeration value="CR/025"/>
          <xsd:enumeration value="CR/026"/>
          <xsd:enumeration value="CR/027"/>
          <xsd:enumeration value="CR/028"/>
          <xsd:enumeration value="CR/029"/>
          <xsd:enumeration value="CR/030"/>
          <xsd:enumeration value="CR/031"/>
          <xsd:enumeration value="CR/032"/>
          <xsd:enumeration value="CR/033"/>
          <xsd:enumeration value="CR/034"/>
          <xsd:enumeration value="CR/035"/>
          <xsd:enumeration value="CR/036"/>
          <xsd:enumeration value="CR/037"/>
          <xsd:enumeration value="CR/038"/>
          <xsd:enumeration value="CR/039"/>
          <xsd:enumeration value="CR/040"/>
          <xsd:enumeration value="CR/041"/>
          <xsd:enumeration value="CR/042"/>
          <xsd:enumeration value="CR/043"/>
          <xsd:enumeration value="CR/044"/>
          <xsd:enumeration value="CR/045"/>
          <xsd:enumeration value="CR/046"/>
          <xsd:enumeration value="CR/047"/>
          <xsd:enumeration value="CR/048"/>
          <xsd:enumeration value="CR/049"/>
          <xsd:enumeration value="CR/050"/>
          <xsd:enumeration value="CR/051"/>
          <xsd:enumeration value="CR/052"/>
          <xsd:enumeration value="CR/053"/>
          <xsd:enumeration value="CR/054"/>
          <xsd:enumeration value="CR/055"/>
          <xsd:enumeration value="CR/056"/>
          <xsd:enumeration value="CR/057"/>
          <xsd:enumeration value="CR/058"/>
          <xsd:enumeration value="CR/059"/>
          <xsd:enumeration value="CR/060"/>
          <xsd:enumeration value="CR/061"/>
          <xsd:enumeration value="CR/062"/>
          <xsd:enumeration value="CR/063"/>
          <xsd:enumeration value="CR/064"/>
          <xsd:enumeration value="CR/065"/>
          <xsd:enumeration value="CR/066"/>
          <xsd:enumeration value="CR/067"/>
          <xsd:enumeration value="CR/068"/>
          <xsd:enumeration value="CR/069"/>
          <xsd:enumeration value="CR/070"/>
          <xsd:enumeration value="CR/071"/>
          <xsd:enumeration value="CR/072"/>
          <xsd:enumeration value="CR/073"/>
          <xsd:enumeration value="CR/074"/>
          <xsd:enumeration value="CR/075"/>
          <xsd:enumeration value="CR/076"/>
          <xsd:enumeration value="CR/077"/>
          <xsd:enumeration value="CR/078"/>
          <xsd:enumeration value="CR/079"/>
          <xsd:enumeration value="CR/080"/>
          <xsd:enumeration value="CR/081"/>
          <xsd:enumeration value="CR/082"/>
          <xsd:enumeration value="CR/083"/>
          <xsd:enumeration value="CR/084"/>
          <xsd:enumeration value="CR/085"/>
          <xsd:enumeration value="CR/086"/>
          <xsd:enumeration value="CR/087"/>
          <xsd:enumeration value="CR/088"/>
          <xsd:enumeration value="CR/089"/>
          <xsd:enumeration value="CR/090"/>
          <xsd:enumeration value="CR/091"/>
          <xsd:enumeration value="CR/092"/>
          <xsd:enumeration value="CR/093"/>
          <xsd:enumeration value="CR/094"/>
          <xsd:enumeration value="CR/095"/>
          <xsd:enumeration value="CR/096"/>
          <xsd:enumeration value="CR/097"/>
          <xsd:enumeration value="CR/098"/>
          <xsd:enumeration value="CR/099"/>
          <xsd:enumeration value="CR/100"/>
          <xsd:enumeration value="CR/101"/>
          <xsd:enumeration value="CR/102"/>
          <xsd:enumeration value="CR/103"/>
          <xsd:enumeration value="CR/104"/>
          <xsd:enumeration value="CR/105"/>
          <xsd:enumeration value="CR/106"/>
          <xsd:enumeration value="CR/107"/>
          <xsd:enumeration value="CR/108"/>
          <xsd:enumeration value="CR/109"/>
          <xsd:enumeration value="CR/110"/>
          <xsd:enumeration value="CR/111"/>
          <xsd:enumeration value="CR/112"/>
          <xsd:enumeration value="CR/113"/>
          <xsd:enumeration value="CR/114"/>
          <xsd:enumeration value="CR/115"/>
          <xsd:enumeration value="CR/116"/>
          <xsd:enumeration value="CR/117"/>
          <xsd:enumeration value="CR/118"/>
          <xsd:enumeration value="CR/119"/>
          <xsd:enumeration value="CR/120"/>
          <xsd:enumeration value="CR/121"/>
          <xsd:enumeration value="CR/122"/>
          <xsd:enumeration value="CR/123"/>
          <xsd:enumeration value="CR/124"/>
          <xsd:enumeration value="CR/125"/>
          <xsd:enumeration value="CR/126"/>
          <xsd:enumeration value="CR/127"/>
          <xsd:enumeration value="CR/128"/>
          <xsd:enumeration value="CR/129"/>
          <xsd:enumeration value="CR/130"/>
          <xsd:enumeration value="CR/131"/>
          <xsd:enumeration value="CR/132"/>
          <xsd:enumeration value="CR/133"/>
          <xsd:enumeration value="CR/134"/>
          <xsd:enumeration value="CR/135"/>
          <xsd:enumeration value="CR/136"/>
          <xsd:enumeration value="CR/137"/>
          <xsd:enumeration value="CR/138"/>
          <xsd:enumeration value="CR/139"/>
          <xsd:enumeration value="CR/140"/>
          <xsd:enumeration value="CR/141"/>
          <xsd:enumeration value="CR/142"/>
          <xsd:enumeration value="CR/143"/>
          <xsd:enumeration value="CR/144"/>
          <xsd:enumeration value="CR/145"/>
          <xsd:enumeration value="CR/146"/>
          <xsd:enumeration value="CR/147"/>
          <xsd:enumeration value="CR/148"/>
          <xsd:enumeration value="CR/149"/>
          <xsd:enumeration value="CR/150"/>
          <xsd:enumeration value="CR/151"/>
          <xsd:enumeration value="CR/152"/>
          <xsd:enumeration value="CR/153"/>
          <xsd:enumeration value="CR/154"/>
          <xsd:enumeration value="CR/155"/>
          <xsd:enumeration value="CR/156"/>
          <xsd:enumeration value="CR/157"/>
          <xsd:enumeration value="CR/158"/>
          <xsd:enumeration value="CR/159"/>
          <xsd:enumeration value="CR/160"/>
          <xsd:enumeration value="CR/161"/>
          <xsd:enumeration value="CR/162"/>
          <xsd:enumeration value="CR/163"/>
          <xsd:enumeration value="CR/164"/>
          <xsd:enumeration value="CR/165"/>
          <xsd:enumeration value="CR/166"/>
          <xsd:enumeration value="CR/167"/>
          <xsd:enumeration value="CR/168"/>
          <xsd:enumeration value="CR/169"/>
          <xsd:enumeration value="CR/170"/>
          <xsd:enumeration value="CR/171"/>
          <xsd:enumeration value="CR/172"/>
          <xsd:enumeration value="CR/173"/>
          <xsd:enumeration value="CR/174"/>
          <xsd:enumeration value="CR/175"/>
          <xsd:enumeration value="CR/176"/>
          <xsd:enumeration value="CR/177"/>
          <xsd:enumeration value="CR/178"/>
          <xsd:enumeration value="CR/179"/>
          <xsd:enumeration value="CR/180"/>
          <xsd:enumeration value="CR/181"/>
          <xsd:enumeration value="CR/182"/>
          <xsd:enumeration value="CR/183"/>
          <xsd:enumeration value="CR/184"/>
          <xsd:enumeration value="CR/185"/>
          <xsd:enumeration value="CR/186"/>
          <xsd:enumeration value="CR/187"/>
          <xsd:enumeration value="CR/188"/>
          <xsd:enumeration value="CR/189"/>
          <xsd:enumeration value="CR/190"/>
          <xsd:enumeration value="CR/191"/>
          <xsd:enumeration value="CR/192"/>
          <xsd:enumeration value="CR/193"/>
          <xsd:enumeration value="CR/194"/>
          <xsd:enumeration value="CR/195"/>
          <xsd:enumeration value="CR/196"/>
          <xsd:enumeration value="CR/197"/>
          <xsd:enumeration value="CR/198"/>
          <xsd:enumeration value="CR/199"/>
          <xsd:enumeration value="CR/200"/>
          <xsd:enumeration value="CR/201"/>
          <xsd:enumeration value="CR/202"/>
          <xsd:enumeration value="CR/203"/>
          <xsd:enumeration value="CR/204"/>
          <xsd:enumeration value="CR/205"/>
          <xsd:enumeration value="CR/206"/>
          <xsd:enumeration value="CR/207"/>
          <xsd:enumeration value="CR/208"/>
          <xsd:enumeration value="CR/209"/>
          <xsd:enumeration value="CR/210"/>
          <xsd:enumeration value="CR/211"/>
          <xsd:enumeration value="CR/212"/>
          <xsd:enumeration value="CR/213"/>
          <xsd:enumeration value="CR/214"/>
          <xsd:enumeration value="CR/215"/>
          <xsd:enumeration value="CR/216"/>
          <xsd:enumeration value="CR/217"/>
          <xsd:enumeration value="CR/218"/>
          <xsd:enumeration value="CR/219"/>
          <xsd:enumeration value="CR/220"/>
          <xsd:enumeration value="CR/221"/>
          <xsd:enumeration value="CR/222"/>
          <xsd:enumeration value="CR/223"/>
          <xsd:enumeration value="CR/224"/>
          <xsd:enumeration value="CR/225"/>
          <xsd:enumeration value="CR/226"/>
          <xsd:enumeration value="CR/227"/>
          <xsd:enumeration value="CR/228"/>
          <xsd:enumeration value="CR/229"/>
          <xsd:enumeration value="CR/230"/>
          <xsd:enumeration value="CR/231"/>
          <xsd:enumeration value="CR/232"/>
          <xsd:enumeration value="CR/233"/>
          <xsd:enumeration value="CR/234"/>
          <xsd:enumeration value="CR/235"/>
          <xsd:enumeration value="CR/236"/>
          <xsd:enumeration value="CR/237"/>
          <xsd:enumeration value="CR/238"/>
          <xsd:enumeration value="CR/239"/>
          <xsd:enumeration value="CR/240"/>
          <xsd:enumeration value="CR/241"/>
          <xsd:enumeration value="CR/242"/>
          <xsd:enumeration value="CR/243"/>
          <xsd:enumeration value="CR/244"/>
          <xsd:enumeration value="CR/245"/>
          <xsd:enumeration value="CR/246"/>
          <xsd:enumeration value="CR/247"/>
          <xsd:enumeration value="CR/248"/>
          <xsd:enumeration value="CR/249"/>
          <xsd:enumeration value="CR/250"/>
          <xsd:enumeration value="CR/251"/>
          <xsd:enumeration value="CR/252"/>
          <xsd:enumeration value="CR/253"/>
          <xsd:enumeration value="CR/254"/>
          <xsd:enumeration value="CR/255"/>
          <xsd:enumeration value="CR/256"/>
          <xsd:enumeration value="CR/257"/>
          <xsd:enumeration value="CR/258"/>
          <xsd:enumeration value="CR/259"/>
          <xsd:enumeration value="CR/260"/>
          <xsd:enumeration value="CR/261"/>
          <xsd:enumeration value="CR/262"/>
          <xsd:enumeration value="CR/263"/>
          <xsd:enumeration value="CR/264"/>
          <xsd:enumeration value="CR/265"/>
          <xsd:enumeration value="CR/266"/>
          <xsd:enumeration value="CR/267"/>
          <xsd:enumeration value="CR/268"/>
          <xsd:enumeration value="CR/269"/>
          <xsd:enumeration value="CR/270"/>
          <xsd:enumeration value="CR/271"/>
          <xsd:enumeration value="CR/272"/>
          <xsd:enumeration value="CR/273"/>
          <xsd:enumeration value="CR/274"/>
          <xsd:enumeration value="CR/275"/>
          <xsd:enumeration value="CR/276"/>
          <xsd:enumeration value="CR/277"/>
          <xsd:enumeration value="CR/278"/>
          <xsd:enumeration value="CR/279"/>
          <xsd:enumeration value="CR/280"/>
          <xsd:enumeration value="CR/281"/>
          <xsd:enumeration value="CR/282"/>
          <xsd:enumeration value="CR/283"/>
          <xsd:enumeration value="CR/284"/>
          <xsd:enumeration value="CR/285"/>
          <xsd:enumeration value="CR/286"/>
          <xsd:enumeration value="CR/287"/>
          <xsd:enumeration value="CR/288"/>
          <xsd:enumeration value="CR/289"/>
          <xsd:enumeration value="CR/290"/>
          <xsd:enumeration value="CR/291"/>
          <xsd:enumeration value="CR/292"/>
          <xsd:enumeration value="CR/293"/>
          <xsd:enumeration value="CR/294"/>
          <xsd:enumeration value="CR/295"/>
          <xsd:enumeration value="CR/296"/>
          <xsd:enumeration value="CR/297"/>
          <xsd:enumeration value="CR/298"/>
          <xsd:enumeration value="CR/299"/>
          <xsd:enumeration value="CR/300"/>
          <xsd:enumeration value="Choice 2"/>
          <xsd:enumeration value="Choice 3"/>
        </xsd:restriction>
      </xsd:simpleType>
    </xsd:element>
    <xsd:element name="Workstream" ma:index="11" nillable="true" ma:displayName="Workstream" ma:format="Dropdown" ma:indexed="true" ma:internalName="Workstream" ma:readOnly="false">
      <xsd:simpleType>
        <xsd:restriction base="dms:Choice">
          <xsd:enumeration value="Access"/>
          <xsd:enumeration value="Change Management"/>
          <xsd:enumeration value="Surveillance"/>
          <xsd:enumeration value="Clinical"/>
          <xsd:enumeration value="Clinical"/>
          <xsd:enumeration value="Clinical Governance"/>
          <xsd:enumeration value="PAS / Rev Cycle"/>
          <xsd:enumeration value="Supply Chain, Case Mgmt."/>
          <xsd:enumeration value="Testing"/>
          <xsd:enumeration value="Device Management"/>
          <xsd:enumeration value="Data Migration"/>
          <xsd:enumeration value="Reporting"/>
          <xsd:enumeration value="Integration Interop"/>
          <xsd:enumeration value="Labs"/>
          <xsd:enumeration value="Medical Services"/>
          <xsd:enumeration value="Pharmacy"/>
          <xsd:enumeration value="Primary Cary"/>
          <xsd:enumeration value="Patient Portal"/>
          <xsd:enumeration value="Choice 2"/>
          <xsd:enumeration value="Choice 3"/>
        </xsd:restriction>
      </xsd:simpleType>
    </xsd:element>
    <xsd:element name="Orginator" ma:index="12" nillable="true" ma:displayName="Originator" ma:format="Dropdown" ma:list="UserInfo" ma:SharePointGroup="0" ma:internalName="Orginator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ypeofChange" ma:index="13" nillable="true" ma:displayName="Type of Change" ma:format="Dropdown" ma:internalName="TypeofChange" ma:readOnly="false">
      <xsd:simpleType>
        <xsd:restriction base="dms:Choice">
          <xsd:enumeration value="Update / Modify / New Dictionary Content"/>
          <xsd:enumeration value="Update / Change Parameter Settings"/>
          <xsd:enumeration value="Descope Dictionary"/>
          <xsd:enumeration value="Rescope Dictionary"/>
          <xsd:enumeration value="Deploy Enhancement / New Function - Parameter"/>
          <xsd:enumeration value="Deploy Enhancement / New Function - Dictionary"/>
          <xsd:enumeration value="CMS Changes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03d2b25-7cb4-4c1a-8a41-d2a06ed2ff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hidden="true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1" nillable="true" ma:displayName="Extracted Text" ma:hidden="true" ma:internalName="MediaServiceOCR" ma:readOnly="true">
      <xsd:simpleType>
        <xsd:restriction base="dms:Note"/>
      </xsd:simpleType>
    </xsd:element>
    <xsd:element name="MediaServiceMetadata" ma:index="27" nillable="true" ma:displayName="MediaServiceMetadata" ma:hidden="true" ma:internalName="MediaServiceMetadata" ma:readOnly="true">
      <xsd:simpleType>
        <xsd:restriction base="dms:Note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3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3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FastMetadata" ma:index="34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4f40c5-e82b-4f09-8153-660ef45f0188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6c32fa44-6b38-421a-961e-2780d66c4d3f}" ma:internalName="TaxCatchAll" ma:readOnly="false" ma:showField="CatchAllData" ma:web="aa4f40c5-e82b-4f09-8153-660ef45f018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9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0" nillable="true" ma:displayName="Shared With Details" ma:hidden="true" ma:internalName="SharedWithDetail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8EA9C26-D040-4B6D-8E4A-2BB23D77B17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B8EDC6E-D3AC-483A-86AD-EFC4EF205A5D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bba451f1-a467-403a-8263-a833efa47a76"/>
    <ds:schemaRef ds:uri="http://purl.org/dc/elements/1.1/"/>
    <ds:schemaRef ds:uri="http://purl.org/dc/terms/"/>
    <ds:schemaRef ds:uri="http://www.w3.org/XML/1998/namespace"/>
    <ds:schemaRef ds:uri="http://schemas.microsoft.com/office/infopath/2007/PartnerControls"/>
    <ds:schemaRef ds:uri="aa4f40c5-e82b-4f09-8153-660ef45f0188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E969EF18-DB7A-494C-9704-9AE4059F06DC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05</Words>
  <Application>Microsoft Office PowerPoint</Application>
  <PresentationFormat>Widescreen</PresentationFormat>
  <Paragraphs>49</Paragraphs>
  <Slides>10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Start and End Slides</vt:lpstr>
      <vt:lpstr>Blank Slides</vt:lpstr>
      <vt:lpstr>Elective caesarean section workflow </vt:lpstr>
      <vt:lpstr>High level changes for Obstetricians</vt:lpstr>
      <vt:lpstr>Overview</vt:lpstr>
      <vt:lpstr>Checking blood results</vt:lpstr>
      <vt:lpstr>Document pre-operative review</vt:lpstr>
      <vt:lpstr>Document pre-operative review</vt:lpstr>
      <vt:lpstr>Document caesarean section (op note)</vt:lpstr>
      <vt:lpstr>Document caesarean section (op note)</vt:lpstr>
      <vt:lpstr>Document caesarean section (op note)</vt:lpstr>
      <vt:lpstr>Prescribe medications and order blood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Jonathan Lewin</cp:lastModifiedBy>
  <cp:revision>20</cp:revision>
  <dcterms:created xsi:type="dcterms:W3CDTF">2025-08-05T13:54:35Z</dcterms:created>
  <dcterms:modified xsi:type="dcterms:W3CDTF">2025-10-27T12:1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C9B5497CDD3A418838FF1C189006F7</vt:lpwstr>
  </property>
  <property fmtid="{D5CDD505-2E9C-101B-9397-08002B2CF9AE}" pid="3" name="MediaServiceImageTags">
    <vt:lpwstr/>
  </property>
</Properties>
</file>